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0"/>
  </p:notesMasterIdLst>
  <p:sldIdLst>
    <p:sldId id="295" r:id="rId2"/>
    <p:sldId id="353" r:id="rId3"/>
    <p:sldId id="381" r:id="rId4"/>
    <p:sldId id="380" r:id="rId5"/>
    <p:sldId id="377" r:id="rId6"/>
    <p:sldId id="382" r:id="rId7"/>
    <p:sldId id="378" r:id="rId8"/>
    <p:sldId id="369" r:id="rId9"/>
  </p:sldIdLst>
  <p:sldSz cx="12192000" cy="6858000"/>
  <p:notesSz cx="6858000" cy="9144000"/>
  <p:defaultTextStyle>
    <a:defPPr>
      <a:defRPr lang="x-non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159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4020" userDrawn="1">
          <p15:clr>
            <a:srgbClr val="A4A3A4"/>
          </p15:clr>
        </p15:guide>
        <p15:guide id="10" orient="horz" pos="278" userDrawn="1">
          <p15:clr>
            <a:srgbClr val="A4A3A4"/>
          </p15:clr>
        </p15:guide>
        <p15:guide id="11" pos="302" userDrawn="1">
          <p15:clr>
            <a:srgbClr val="A4A3A4"/>
          </p15:clr>
        </p15:guide>
        <p15:guide id="12" pos="393" userDrawn="1">
          <p15:clr>
            <a:srgbClr val="A4A3A4"/>
          </p15:clr>
        </p15:guide>
        <p15:guide id="13" orient="horz" pos="1003" userDrawn="1">
          <p15:clr>
            <a:srgbClr val="A4A3A4"/>
          </p15:clr>
        </p15:guide>
        <p15:guide id="14" orient="horz" pos="663" userDrawn="1">
          <p15:clr>
            <a:srgbClr val="A4A3A4"/>
          </p15:clr>
        </p15:guide>
        <p15:guide id="15" orient="horz" pos="3861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D4D"/>
    <a:srgbClr val="009D4F"/>
    <a:srgbClr val="2F2F2E"/>
    <a:srgbClr val="E7E7E6"/>
    <a:srgbClr val="EFEFE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158" autoAdjust="0"/>
    <p:restoredTop sz="96642"/>
  </p:normalViewPr>
  <p:slideViewPr>
    <p:cSldViewPr snapToGrid="0" snapToObjects="1">
      <p:cViewPr varScale="1">
        <p:scale>
          <a:sx n="71" d="100"/>
          <a:sy n="71" d="100"/>
        </p:scale>
        <p:origin x="82" y="283"/>
      </p:cViewPr>
      <p:guideLst>
        <p:guide orient="horz" pos="2160"/>
        <p:guide pos="3840"/>
        <p:guide pos="1595"/>
        <p:guide pos="7333"/>
        <p:guide orient="horz" pos="4020"/>
        <p:guide orient="horz" pos="278"/>
        <p:guide pos="302"/>
        <p:guide pos="393"/>
        <p:guide orient="horz" pos="1003"/>
        <p:guide orient="horz" pos="663"/>
        <p:guide orient="horz" pos="3861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x-none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3ABF2C0-3C9C-7D49-B24A-64CA7C2343A0}" type="datetimeFigureOut">
              <a:rPr kumimoji="1" lang="x-none" altLang="en-US" smtClean="0"/>
              <a:pPr/>
              <a:t>2022-05-13</a:t>
            </a:fld>
            <a:endParaRPr kumimoji="1" lang="x-none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x-none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ko-KR" altLang="en-US"/>
              <a:t>마스터 텍스트 스타일을 편집하려면 클릭</a:t>
            </a:r>
          </a:p>
          <a:p>
            <a:pPr lvl="1"/>
            <a:r>
              <a:rPr kumimoji="1" lang="ko-KR" altLang="en-US"/>
              <a:t>두 번째 수준</a:t>
            </a:r>
          </a:p>
          <a:p>
            <a:pPr lvl="2"/>
            <a:r>
              <a:rPr kumimoji="1" lang="ko-KR" altLang="en-US"/>
              <a:t>세 번째 수준</a:t>
            </a:r>
          </a:p>
          <a:p>
            <a:pPr lvl="3"/>
            <a:r>
              <a:rPr kumimoji="1" lang="ko-KR" altLang="en-US"/>
              <a:t>네 번째 수준</a:t>
            </a:r>
          </a:p>
          <a:p>
            <a:pPr lvl="4"/>
            <a:r>
              <a:rPr kumimoji="1" lang="ko-KR" altLang="en-US"/>
              <a:t>다섯 번째 수준</a:t>
            </a:r>
            <a:endParaRPr kumimoji="1" lang="x-none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x-none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9F919D3-84F6-0741-8352-B69EE92CC057}" type="slidenum">
              <a:rPr kumimoji="1" lang="x-none" altLang="en-US" smtClean="0"/>
              <a:pPr/>
              <a:t>‹#›</a:t>
            </a:fld>
            <a:endParaRPr kumimoji="1" lang="x-none" altLang="en-US"/>
          </a:p>
        </p:txBody>
      </p:sp>
    </p:spTree>
    <p:extLst>
      <p:ext uri="{BB962C8B-B14F-4D97-AF65-F5344CB8AC3E}">
        <p14:creationId xmlns:p14="http://schemas.microsoft.com/office/powerpoint/2010/main" val="14988104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D21D6D92-C733-1642-8A21-5EECDE35E1A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kumimoji="1" lang="ko-KR" altLang="en-US"/>
              <a:t>마스터 제목 스타일 편집</a:t>
            </a:r>
            <a:endParaRPr kumimoji="1" lang="x-none" altLang="en-US"/>
          </a:p>
        </p:txBody>
      </p:sp>
      <p:sp>
        <p:nvSpPr>
          <p:cNvPr id="3" name="부제목 2">
            <a:extLst>
              <a:ext uri="{FF2B5EF4-FFF2-40B4-BE49-F238E27FC236}">
                <a16:creationId xmlns:a16="http://schemas.microsoft.com/office/drawing/2014/main" id="{734DE295-A08A-214D-9CBE-5ED378EB32D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ko-KR" altLang="en-US"/>
              <a:t>클릭하여 마스터 부제목 스타일 편집</a:t>
            </a:r>
            <a:endParaRPr kumimoji="1" lang="x-none" altLang="en-US"/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E1CC0D3A-BA10-FC46-9C9F-8A47BEDD4F9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E20AB6E-091C-844F-ABF9-3EF4C2336578}" type="datetimeFigureOut">
              <a:rPr kumimoji="1" lang="x-none" altLang="en-US" smtClean="0"/>
              <a:pPr/>
              <a:t>2022-05-13</a:t>
            </a:fld>
            <a:endParaRPr kumimoji="1" lang="x-none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37FE8601-FB8B-9342-AE5B-89A3E0439C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581420" y="6355967"/>
            <a:ext cx="1029159" cy="365125"/>
          </a:xfrm>
          <a:prstGeom prst="rect">
            <a:avLst/>
          </a:prstGeom>
        </p:spPr>
        <p:txBody>
          <a:bodyPr/>
          <a:lstStyle/>
          <a:p>
            <a:endParaRPr kumimoji="1" lang="x-none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ED058E05-17A3-BF45-B0DA-D60B846DFB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33053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5D032BF-4D1A-EB41-AFEA-99DAB64F17B5}" type="slidenum">
              <a:rPr kumimoji="1" lang="x-none" altLang="en-US" smtClean="0"/>
              <a:pPr/>
              <a:t>‹#›</a:t>
            </a:fld>
            <a:endParaRPr kumimoji="1" lang="x-none" altLang="en-US"/>
          </a:p>
        </p:txBody>
      </p:sp>
    </p:spTree>
    <p:extLst>
      <p:ext uri="{BB962C8B-B14F-4D97-AF65-F5344CB8AC3E}">
        <p14:creationId xmlns:p14="http://schemas.microsoft.com/office/powerpoint/2010/main" val="1208105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674D90CD-0454-2C43-94B9-D70BD947A5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kumimoji="1" lang="ko-KR" altLang="en-US"/>
              <a:t>마스터 제목 스타일 편집</a:t>
            </a:r>
            <a:endParaRPr kumimoji="1" lang="x-none" altLang="en-US"/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858A2CB1-9A70-A542-8270-D9FCD307C6A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kumimoji="1" lang="ko-KR" altLang="en-US"/>
              <a:t>마스터 텍스트 스타일을 편집하려면 클릭</a:t>
            </a:r>
          </a:p>
          <a:p>
            <a:pPr lvl="1"/>
            <a:r>
              <a:rPr kumimoji="1" lang="ko-KR" altLang="en-US"/>
              <a:t>두 번째 수준</a:t>
            </a:r>
          </a:p>
          <a:p>
            <a:pPr lvl="2"/>
            <a:r>
              <a:rPr kumimoji="1" lang="ko-KR" altLang="en-US"/>
              <a:t>세 번째 수준</a:t>
            </a:r>
          </a:p>
          <a:p>
            <a:pPr lvl="3"/>
            <a:r>
              <a:rPr kumimoji="1" lang="ko-KR" altLang="en-US"/>
              <a:t>네 번째 수준</a:t>
            </a:r>
          </a:p>
          <a:p>
            <a:pPr lvl="4"/>
            <a:r>
              <a:rPr kumimoji="1" lang="ko-KR" altLang="en-US"/>
              <a:t>다섯 번째 수준</a:t>
            </a:r>
            <a:endParaRPr kumimoji="1" lang="x-none" altLang="en-US"/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166ECFFA-44BE-5742-8DF8-D72529A7E04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E20AB6E-091C-844F-ABF9-3EF4C2336578}" type="datetimeFigureOut">
              <a:rPr kumimoji="1" lang="x-none" altLang="en-US" smtClean="0"/>
              <a:pPr/>
              <a:t>2022-05-13</a:t>
            </a:fld>
            <a:endParaRPr kumimoji="1" lang="x-none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90AA712B-F4A3-9548-8006-8C6A331369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581420" y="6355967"/>
            <a:ext cx="1029159" cy="365125"/>
          </a:xfrm>
          <a:prstGeom prst="rect">
            <a:avLst/>
          </a:prstGeom>
        </p:spPr>
        <p:txBody>
          <a:bodyPr/>
          <a:lstStyle/>
          <a:p>
            <a:endParaRPr kumimoji="1" lang="x-none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E78572B2-8B03-ED42-831C-7E5F3A7C35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33053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5D032BF-4D1A-EB41-AFEA-99DAB64F17B5}" type="slidenum">
              <a:rPr kumimoji="1" lang="x-none" altLang="en-US" smtClean="0"/>
              <a:pPr/>
              <a:t>‹#›</a:t>
            </a:fld>
            <a:endParaRPr kumimoji="1" lang="x-none" altLang="en-US"/>
          </a:p>
        </p:txBody>
      </p:sp>
    </p:spTree>
    <p:extLst>
      <p:ext uri="{BB962C8B-B14F-4D97-AF65-F5344CB8AC3E}">
        <p14:creationId xmlns:p14="http://schemas.microsoft.com/office/powerpoint/2010/main" val="242693638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>
            <a:extLst>
              <a:ext uri="{FF2B5EF4-FFF2-40B4-BE49-F238E27FC236}">
                <a16:creationId xmlns:a16="http://schemas.microsoft.com/office/drawing/2014/main" id="{33DB958B-9F52-5047-BA9C-CCD563B56D7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kumimoji="1" lang="ko-KR" altLang="en-US"/>
              <a:t>마스터 제목 스타일 편집</a:t>
            </a:r>
            <a:endParaRPr kumimoji="1" lang="x-none" altLang="en-US"/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422964C8-EE40-014B-B029-2F0B840EE9E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kumimoji="1" lang="ko-KR" altLang="en-US"/>
              <a:t>마스터 텍스트 스타일을 편집하려면 클릭</a:t>
            </a:r>
          </a:p>
          <a:p>
            <a:pPr lvl="1"/>
            <a:r>
              <a:rPr kumimoji="1" lang="ko-KR" altLang="en-US"/>
              <a:t>두 번째 수준</a:t>
            </a:r>
          </a:p>
          <a:p>
            <a:pPr lvl="2"/>
            <a:r>
              <a:rPr kumimoji="1" lang="ko-KR" altLang="en-US"/>
              <a:t>세 번째 수준</a:t>
            </a:r>
          </a:p>
          <a:p>
            <a:pPr lvl="3"/>
            <a:r>
              <a:rPr kumimoji="1" lang="ko-KR" altLang="en-US"/>
              <a:t>네 번째 수준</a:t>
            </a:r>
          </a:p>
          <a:p>
            <a:pPr lvl="4"/>
            <a:r>
              <a:rPr kumimoji="1" lang="ko-KR" altLang="en-US"/>
              <a:t>다섯 번째 수준</a:t>
            </a:r>
            <a:endParaRPr kumimoji="1" lang="x-none" altLang="en-US"/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5B4F3365-A4A2-264C-945A-DCBA1B6E659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E20AB6E-091C-844F-ABF9-3EF4C2336578}" type="datetimeFigureOut">
              <a:rPr kumimoji="1" lang="x-none" altLang="en-US" smtClean="0"/>
              <a:pPr/>
              <a:t>2022-05-13</a:t>
            </a:fld>
            <a:endParaRPr kumimoji="1" lang="x-none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3A3C17BB-7479-F74C-8605-96575BDE0D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581420" y="6355967"/>
            <a:ext cx="1029159" cy="365125"/>
          </a:xfrm>
          <a:prstGeom prst="rect">
            <a:avLst/>
          </a:prstGeom>
        </p:spPr>
        <p:txBody>
          <a:bodyPr/>
          <a:lstStyle/>
          <a:p>
            <a:endParaRPr kumimoji="1" lang="x-none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C4511452-4FD6-374E-9D80-EE209AA3E8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33053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5D032BF-4D1A-EB41-AFEA-99DAB64F17B5}" type="slidenum">
              <a:rPr kumimoji="1" lang="x-none" altLang="en-US" smtClean="0"/>
              <a:pPr/>
              <a:t>‹#›</a:t>
            </a:fld>
            <a:endParaRPr kumimoji="1" lang="x-none" altLang="en-US"/>
          </a:p>
        </p:txBody>
      </p:sp>
    </p:spTree>
    <p:extLst>
      <p:ext uri="{BB962C8B-B14F-4D97-AF65-F5344CB8AC3E}">
        <p14:creationId xmlns:p14="http://schemas.microsoft.com/office/powerpoint/2010/main" val="35212143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4487" b="1" i="0">
                <a:solidFill>
                  <a:srgbClr val="222222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576" b="0" i="0">
                <a:solidFill>
                  <a:schemeClr val="tx1"/>
                </a:solidFill>
                <a:latin typeface="Noto Sans CJK KR Black"/>
                <a:cs typeface="Noto Sans CJK KR Black"/>
              </a:defRPr>
            </a:lvl1pPr>
          </a:lstStyle>
          <a:p>
            <a:pPr marL="7701">
              <a:spcBef>
                <a:spcPts val="567"/>
              </a:spcBef>
            </a:pPr>
            <a:r>
              <a:rPr lang="en-US" spc="-24"/>
              <a:t>GUNN</a:t>
            </a:r>
            <a:r>
              <a:rPr lang="en-US" spc="-82"/>
              <a:t> </a:t>
            </a:r>
            <a:r>
              <a:rPr lang="en-US" spc="-39"/>
              <a:t>SOLUTIN</a:t>
            </a:r>
            <a:endParaRPr lang="en-US" spc="-39" dirty="0"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pPr/>
              <a:t>5/13/2022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576" b="0" i="0">
                <a:solidFill>
                  <a:schemeClr val="tx1"/>
                </a:solidFill>
                <a:latin typeface="Noto Sans CJK KR Black"/>
                <a:cs typeface="Noto Sans CJK KR Black"/>
              </a:defRPr>
            </a:lvl1pPr>
          </a:lstStyle>
          <a:p>
            <a:pPr marL="23104">
              <a:spcBef>
                <a:spcPts val="567"/>
              </a:spcBef>
            </a:pPr>
            <a:fld id="{81D60167-4931-47E6-BA6A-407CBD079E47}" type="slidenum">
              <a:rPr lang="en-US" altLang="ko-KR" spc="-9" smtClean="0"/>
              <a:pPr marL="23104">
                <a:spcBef>
                  <a:spcPts val="567"/>
                </a:spcBef>
              </a:pPr>
              <a:t>‹#›</a:t>
            </a:fld>
            <a:endParaRPr lang="en-US" altLang="ko-KR" spc="-9" dirty="0"/>
          </a:p>
        </p:txBody>
      </p:sp>
    </p:spTree>
    <p:extLst>
      <p:ext uri="{BB962C8B-B14F-4D97-AF65-F5344CB8AC3E}">
        <p14:creationId xmlns:p14="http://schemas.microsoft.com/office/powerpoint/2010/main" val="223279209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0013328A-F6B8-9340-A6CF-F201493A35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kumimoji="1" lang="ko-KR" altLang="en-US"/>
              <a:t>마스터 제목 스타일 편집</a:t>
            </a:r>
            <a:endParaRPr kumimoji="1" lang="x-none" altLang="en-US"/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6ABED714-468C-514D-AD3B-7F3757A85B5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kumimoji="1" lang="ko-KR" altLang="en-US"/>
              <a:t>마스터 텍스트 스타일을 편집하려면 클릭</a:t>
            </a:r>
          </a:p>
          <a:p>
            <a:pPr lvl="1"/>
            <a:r>
              <a:rPr kumimoji="1" lang="ko-KR" altLang="en-US"/>
              <a:t>두 번째 수준</a:t>
            </a:r>
          </a:p>
          <a:p>
            <a:pPr lvl="2"/>
            <a:r>
              <a:rPr kumimoji="1" lang="ko-KR" altLang="en-US"/>
              <a:t>세 번째 수준</a:t>
            </a:r>
          </a:p>
          <a:p>
            <a:pPr lvl="3"/>
            <a:r>
              <a:rPr kumimoji="1" lang="ko-KR" altLang="en-US"/>
              <a:t>네 번째 수준</a:t>
            </a:r>
          </a:p>
          <a:p>
            <a:pPr lvl="4"/>
            <a:r>
              <a:rPr kumimoji="1" lang="ko-KR" altLang="en-US"/>
              <a:t>다섯 번째 수준</a:t>
            </a:r>
            <a:endParaRPr kumimoji="1" lang="x-none" altLang="en-US"/>
          </a:p>
        </p:txBody>
      </p:sp>
      <p:sp>
        <p:nvSpPr>
          <p:cNvPr id="9" name="바닥글 개체 틀 4">
            <a:extLst>
              <a:ext uri="{FF2B5EF4-FFF2-40B4-BE49-F238E27FC236}">
                <a16:creationId xmlns:a16="http://schemas.microsoft.com/office/drawing/2014/main" id="{941514A0-0E2E-BA46-AF02-70942E3A9028}"/>
              </a:ext>
            </a:extLst>
          </p:cNvPr>
          <p:cNvSpPr txBox="1">
            <a:spLocks/>
          </p:cNvSpPr>
          <p:nvPr userDrawn="1"/>
        </p:nvSpPr>
        <p:spPr>
          <a:xfrm>
            <a:off x="380999" y="6238722"/>
            <a:ext cx="225203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x-none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" altLang="x-none" sz="800" b="0" i="0" dirty="0">
                <a:solidFill>
                  <a:schemeClr val="tx1">
                    <a:lumMod val="50000"/>
                    <a:lumOff val="50000"/>
                  </a:schemeClr>
                </a:solidFill>
                <a:latin typeface="DIN-Light" panose="02000504040000020003" pitchFamily="2" charset="0"/>
              </a:rPr>
              <a:t>©2021 </a:t>
            </a:r>
            <a:r>
              <a:rPr lang="en" altLang="x-none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DIN-Light" panose="02000504040000020003" pitchFamily="2" charset="0"/>
              </a:rPr>
              <a:t>GUNN Solution</a:t>
            </a:r>
            <a:r>
              <a:rPr lang="ko-KR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DIN-Light" panose="02000504040000020003" pitchFamily="2" charset="0"/>
              </a:rPr>
              <a:t> </a:t>
            </a:r>
            <a:r>
              <a:rPr lang="en-US" altLang="ko-KR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DIN-Light" panose="02000504040000020003" pitchFamily="2" charset="0"/>
              </a:rPr>
              <a:t>All rights reserved</a:t>
            </a:r>
            <a:endParaRPr lang="x-none" altLang="en-US" sz="800" b="0" i="0" dirty="0">
              <a:solidFill>
                <a:schemeClr val="tx1">
                  <a:lumMod val="50000"/>
                  <a:lumOff val="50000"/>
                </a:schemeClr>
              </a:solidFill>
              <a:latin typeface="DIN-Light" panose="02000504040000020003" pitchFamily="2" charset="0"/>
            </a:endParaRPr>
          </a:p>
        </p:txBody>
      </p:sp>
      <p:sp>
        <p:nvSpPr>
          <p:cNvPr id="12" name="바닥글 개체 틀 4">
            <a:extLst>
              <a:ext uri="{FF2B5EF4-FFF2-40B4-BE49-F238E27FC236}">
                <a16:creationId xmlns:a16="http://schemas.microsoft.com/office/drawing/2014/main" id="{A1B7307E-0CA1-F649-9850-0C58E51E42FD}"/>
              </a:ext>
            </a:extLst>
          </p:cNvPr>
          <p:cNvSpPr txBox="1">
            <a:spLocks/>
          </p:cNvSpPr>
          <p:nvPr userDrawn="1"/>
        </p:nvSpPr>
        <p:spPr>
          <a:xfrm>
            <a:off x="9543363" y="6238722"/>
            <a:ext cx="225203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x-none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altLang="x-none" sz="800" b="0" i="0" dirty="0">
                <a:solidFill>
                  <a:schemeClr val="tx1">
                    <a:lumMod val="50000"/>
                    <a:lumOff val="50000"/>
                  </a:schemeClr>
                </a:solidFill>
                <a:latin typeface="DIN-Light" panose="02000504040000020003" pitchFamily="2" charset="0"/>
              </a:rPr>
              <a:t>LINK UP BE THE BEST</a:t>
            </a:r>
            <a:endParaRPr lang="x-none" altLang="en-US" sz="800" b="0" i="0" dirty="0">
              <a:solidFill>
                <a:schemeClr val="tx1">
                  <a:lumMod val="50000"/>
                  <a:lumOff val="50000"/>
                </a:schemeClr>
              </a:solidFill>
              <a:latin typeface="DIN-Light" panose="02000504040000020003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67307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A4A4847D-5BB9-3945-B766-0EADB962F3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kumimoji="1" lang="ko-KR" altLang="en-US"/>
              <a:t>마스터 제목 스타일 편집</a:t>
            </a:r>
            <a:endParaRPr kumimoji="1" lang="x-none" altLang="en-US"/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DA1BB496-D39C-A348-B1C7-B386FFA317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ko-KR" altLang="en-US"/>
              <a:t>마스터 텍스트 스타일을 편집하려면 클릭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CA45830F-5288-AD4A-A2E0-37872AD0746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E20AB6E-091C-844F-ABF9-3EF4C2336578}" type="datetimeFigureOut">
              <a:rPr kumimoji="1" lang="x-none" altLang="en-US" smtClean="0"/>
              <a:pPr/>
              <a:t>2022-05-13</a:t>
            </a:fld>
            <a:endParaRPr kumimoji="1" lang="x-none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08FBB8B9-4371-B547-9056-9CAD363061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581420" y="6355967"/>
            <a:ext cx="1029159" cy="365125"/>
          </a:xfrm>
          <a:prstGeom prst="rect">
            <a:avLst/>
          </a:prstGeom>
        </p:spPr>
        <p:txBody>
          <a:bodyPr/>
          <a:lstStyle/>
          <a:p>
            <a:endParaRPr kumimoji="1" lang="x-none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E34FBC5E-9EA0-D242-A86E-C38E6481D4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33053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5D032BF-4D1A-EB41-AFEA-99DAB64F17B5}" type="slidenum">
              <a:rPr kumimoji="1" lang="x-none" altLang="en-US" smtClean="0"/>
              <a:pPr/>
              <a:t>‹#›</a:t>
            </a:fld>
            <a:endParaRPr kumimoji="1" lang="x-none" altLang="en-US"/>
          </a:p>
        </p:txBody>
      </p:sp>
    </p:spTree>
    <p:extLst>
      <p:ext uri="{BB962C8B-B14F-4D97-AF65-F5344CB8AC3E}">
        <p14:creationId xmlns:p14="http://schemas.microsoft.com/office/powerpoint/2010/main" val="272988842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D8D61643-B596-A047-9645-3B031F04BD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kumimoji="1" lang="ko-KR" altLang="en-US"/>
              <a:t>마스터 제목 스타일 편집</a:t>
            </a:r>
            <a:endParaRPr kumimoji="1" lang="x-none" altLang="en-US"/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D69768D8-8CB5-CE49-BE27-1A15A71433F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kumimoji="1" lang="ko-KR" altLang="en-US"/>
              <a:t>마스터 텍스트 스타일을 편집하려면 클릭</a:t>
            </a:r>
          </a:p>
          <a:p>
            <a:pPr lvl="1"/>
            <a:r>
              <a:rPr kumimoji="1" lang="ko-KR" altLang="en-US"/>
              <a:t>두 번째 수준</a:t>
            </a:r>
          </a:p>
          <a:p>
            <a:pPr lvl="2"/>
            <a:r>
              <a:rPr kumimoji="1" lang="ko-KR" altLang="en-US"/>
              <a:t>세 번째 수준</a:t>
            </a:r>
          </a:p>
          <a:p>
            <a:pPr lvl="3"/>
            <a:r>
              <a:rPr kumimoji="1" lang="ko-KR" altLang="en-US"/>
              <a:t>네 번째 수준</a:t>
            </a:r>
          </a:p>
          <a:p>
            <a:pPr lvl="4"/>
            <a:r>
              <a:rPr kumimoji="1" lang="ko-KR" altLang="en-US"/>
              <a:t>다섯 번째 수준</a:t>
            </a:r>
            <a:endParaRPr kumimoji="1" lang="x-none" altLang="en-US"/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382824C5-10C8-0440-AFA3-54CAE764843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kumimoji="1" lang="ko-KR" altLang="en-US"/>
              <a:t>마스터 텍스트 스타일을 편집하려면 클릭</a:t>
            </a:r>
          </a:p>
          <a:p>
            <a:pPr lvl="1"/>
            <a:r>
              <a:rPr kumimoji="1" lang="ko-KR" altLang="en-US"/>
              <a:t>두 번째 수준</a:t>
            </a:r>
          </a:p>
          <a:p>
            <a:pPr lvl="2"/>
            <a:r>
              <a:rPr kumimoji="1" lang="ko-KR" altLang="en-US"/>
              <a:t>세 번째 수준</a:t>
            </a:r>
          </a:p>
          <a:p>
            <a:pPr lvl="3"/>
            <a:r>
              <a:rPr kumimoji="1" lang="ko-KR" altLang="en-US"/>
              <a:t>네 번째 수준</a:t>
            </a:r>
          </a:p>
          <a:p>
            <a:pPr lvl="4"/>
            <a:r>
              <a:rPr kumimoji="1" lang="ko-KR" altLang="en-US"/>
              <a:t>다섯 번째 수준</a:t>
            </a:r>
            <a:endParaRPr kumimoji="1" lang="x-none" altLang="en-US"/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93E330CA-6D69-E64A-A9AB-C3B9D30EE96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E20AB6E-091C-844F-ABF9-3EF4C2336578}" type="datetimeFigureOut">
              <a:rPr kumimoji="1" lang="x-none" altLang="en-US" smtClean="0"/>
              <a:pPr/>
              <a:t>2022-05-13</a:t>
            </a:fld>
            <a:endParaRPr kumimoji="1" lang="x-none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9E4499F5-CB43-7548-AE88-8913897F40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581420" y="6355967"/>
            <a:ext cx="1029159" cy="365125"/>
          </a:xfrm>
          <a:prstGeom prst="rect">
            <a:avLst/>
          </a:prstGeom>
        </p:spPr>
        <p:txBody>
          <a:bodyPr/>
          <a:lstStyle/>
          <a:p>
            <a:endParaRPr kumimoji="1" lang="x-none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8E5C009E-C0C3-4E49-AA09-4315BA83AA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33053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5D032BF-4D1A-EB41-AFEA-99DAB64F17B5}" type="slidenum">
              <a:rPr kumimoji="1" lang="x-none" altLang="en-US" smtClean="0"/>
              <a:pPr/>
              <a:t>‹#›</a:t>
            </a:fld>
            <a:endParaRPr kumimoji="1" lang="x-none" altLang="en-US"/>
          </a:p>
        </p:txBody>
      </p:sp>
    </p:spTree>
    <p:extLst>
      <p:ext uri="{BB962C8B-B14F-4D97-AF65-F5344CB8AC3E}">
        <p14:creationId xmlns:p14="http://schemas.microsoft.com/office/powerpoint/2010/main" val="5293501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7C01811D-13C0-7D4D-97E1-55EC89D114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kumimoji="1" lang="ko-KR" altLang="en-US"/>
              <a:t>마스터 제목 스타일 편집</a:t>
            </a:r>
            <a:endParaRPr kumimoji="1" lang="x-none" altLang="en-US"/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37C1E064-92DA-D240-923C-9AC3F2ED7E9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ko-KR" altLang="en-US"/>
              <a:t>마스터 텍스트 스타일을 편집하려면 클릭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1E646141-444B-2445-AD00-9311E7F8637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kumimoji="1" lang="ko-KR" altLang="en-US"/>
              <a:t>마스터 텍스트 스타일을 편집하려면 클릭</a:t>
            </a:r>
          </a:p>
          <a:p>
            <a:pPr lvl="1"/>
            <a:r>
              <a:rPr kumimoji="1" lang="ko-KR" altLang="en-US"/>
              <a:t>두 번째 수준</a:t>
            </a:r>
          </a:p>
          <a:p>
            <a:pPr lvl="2"/>
            <a:r>
              <a:rPr kumimoji="1" lang="ko-KR" altLang="en-US"/>
              <a:t>세 번째 수준</a:t>
            </a:r>
          </a:p>
          <a:p>
            <a:pPr lvl="3"/>
            <a:r>
              <a:rPr kumimoji="1" lang="ko-KR" altLang="en-US"/>
              <a:t>네 번째 수준</a:t>
            </a:r>
          </a:p>
          <a:p>
            <a:pPr lvl="4"/>
            <a:r>
              <a:rPr kumimoji="1" lang="ko-KR" altLang="en-US"/>
              <a:t>다섯 번째 수준</a:t>
            </a:r>
            <a:endParaRPr kumimoji="1" lang="x-none" altLang="en-US"/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7DE916FB-92A2-B049-803C-C91062CAE2C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ko-KR" altLang="en-US"/>
              <a:t>마스터 텍스트 스타일을 편집하려면 클릭</a:t>
            </a:r>
          </a:p>
        </p:txBody>
      </p:sp>
      <p:sp>
        <p:nvSpPr>
          <p:cNvPr id="6" name="내용 개체 틀 5">
            <a:extLst>
              <a:ext uri="{FF2B5EF4-FFF2-40B4-BE49-F238E27FC236}">
                <a16:creationId xmlns:a16="http://schemas.microsoft.com/office/drawing/2014/main" id="{ED708E14-E7D4-9540-B3AF-3C050AE9B6E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kumimoji="1" lang="ko-KR" altLang="en-US"/>
              <a:t>마스터 텍스트 스타일을 편집하려면 클릭</a:t>
            </a:r>
          </a:p>
          <a:p>
            <a:pPr lvl="1"/>
            <a:r>
              <a:rPr kumimoji="1" lang="ko-KR" altLang="en-US"/>
              <a:t>두 번째 수준</a:t>
            </a:r>
          </a:p>
          <a:p>
            <a:pPr lvl="2"/>
            <a:r>
              <a:rPr kumimoji="1" lang="ko-KR" altLang="en-US"/>
              <a:t>세 번째 수준</a:t>
            </a:r>
          </a:p>
          <a:p>
            <a:pPr lvl="3"/>
            <a:r>
              <a:rPr kumimoji="1" lang="ko-KR" altLang="en-US"/>
              <a:t>네 번째 수준</a:t>
            </a:r>
          </a:p>
          <a:p>
            <a:pPr lvl="4"/>
            <a:r>
              <a:rPr kumimoji="1" lang="ko-KR" altLang="en-US"/>
              <a:t>다섯 번째 수준</a:t>
            </a:r>
            <a:endParaRPr kumimoji="1" lang="x-none" altLang="en-US"/>
          </a:p>
        </p:txBody>
      </p:sp>
      <p:sp>
        <p:nvSpPr>
          <p:cNvPr id="7" name="날짜 개체 틀 6">
            <a:extLst>
              <a:ext uri="{FF2B5EF4-FFF2-40B4-BE49-F238E27FC236}">
                <a16:creationId xmlns:a16="http://schemas.microsoft.com/office/drawing/2014/main" id="{53F67C61-BA5F-C94C-8197-B4E5CC333CA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E20AB6E-091C-844F-ABF9-3EF4C2336578}" type="datetimeFigureOut">
              <a:rPr kumimoji="1" lang="x-none" altLang="en-US" smtClean="0"/>
              <a:pPr/>
              <a:t>2022-05-13</a:t>
            </a:fld>
            <a:endParaRPr kumimoji="1" lang="x-none" altLang="en-US"/>
          </a:p>
        </p:txBody>
      </p:sp>
      <p:sp>
        <p:nvSpPr>
          <p:cNvPr id="8" name="바닥글 개체 틀 7">
            <a:extLst>
              <a:ext uri="{FF2B5EF4-FFF2-40B4-BE49-F238E27FC236}">
                <a16:creationId xmlns:a16="http://schemas.microsoft.com/office/drawing/2014/main" id="{74E93593-D556-414B-870F-070ED2DD8E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581420" y="6355967"/>
            <a:ext cx="1029159" cy="365125"/>
          </a:xfrm>
          <a:prstGeom prst="rect">
            <a:avLst/>
          </a:prstGeom>
        </p:spPr>
        <p:txBody>
          <a:bodyPr/>
          <a:lstStyle/>
          <a:p>
            <a:endParaRPr kumimoji="1" lang="x-none" altLang="en-US"/>
          </a:p>
        </p:txBody>
      </p:sp>
      <p:sp>
        <p:nvSpPr>
          <p:cNvPr id="9" name="슬라이드 번호 개체 틀 8">
            <a:extLst>
              <a:ext uri="{FF2B5EF4-FFF2-40B4-BE49-F238E27FC236}">
                <a16:creationId xmlns:a16="http://schemas.microsoft.com/office/drawing/2014/main" id="{F683A9B5-F0BA-4A4D-ADD3-94E58522F2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33053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5D032BF-4D1A-EB41-AFEA-99DAB64F17B5}" type="slidenum">
              <a:rPr kumimoji="1" lang="x-none" altLang="en-US" smtClean="0"/>
              <a:pPr/>
              <a:t>‹#›</a:t>
            </a:fld>
            <a:endParaRPr kumimoji="1" lang="x-none" altLang="en-US"/>
          </a:p>
        </p:txBody>
      </p:sp>
    </p:spTree>
    <p:extLst>
      <p:ext uri="{BB962C8B-B14F-4D97-AF65-F5344CB8AC3E}">
        <p14:creationId xmlns:p14="http://schemas.microsoft.com/office/powerpoint/2010/main" val="10986827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6E247AC5-73FB-784E-8DED-62B507C3BE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kumimoji="1" lang="ko-KR" altLang="en-US"/>
              <a:t>마스터 제목 스타일 편집</a:t>
            </a:r>
            <a:endParaRPr kumimoji="1" lang="x-none" altLang="en-US"/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A02F08E0-3E03-5B48-9DFC-6EAA12453D1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E20AB6E-091C-844F-ABF9-3EF4C2336578}" type="datetimeFigureOut">
              <a:rPr kumimoji="1" lang="x-none" altLang="en-US" smtClean="0"/>
              <a:pPr/>
              <a:t>2022-05-13</a:t>
            </a:fld>
            <a:endParaRPr kumimoji="1" lang="x-none" altLang="en-US"/>
          </a:p>
        </p:txBody>
      </p:sp>
      <p:sp>
        <p:nvSpPr>
          <p:cNvPr id="4" name="바닥글 개체 틀 3">
            <a:extLst>
              <a:ext uri="{FF2B5EF4-FFF2-40B4-BE49-F238E27FC236}">
                <a16:creationId xmlns:a16="http://schemas.microsoft.com/office/drawing/2014/main" id="{8DD16769-D995-5C40-89FE-F137209F49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581420" y="6355967"/>
            <a:ext cx="1029159" cy="365125"/>
          </a:xfrm>
          <a:prstGeom prst="rect">
            <a:avLst/>
          </a:prstGeom>
        </p:spPr>
        <p:txBody>
          <a:bodyPr/>
          <a:lstStyle/>
          <a:p>
            <a:endParaRPr kumimoji="1" lang="x-none" altLang="en-US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146A01EA-2EA0-9447-9D9E-05ADEE1939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33053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5D032BF-4D1A-EB41-AFEA-99DAB64F17B5}" type="slidenum">
              <a:rPr kumimoji="1" lang="x-none" altLang="en-US" smtClean="0"/>
              <a:pPr/>
              <a:t>‹#›</a:t>
            </a:fld>
            <a:endParaRPr kumimoji="1" lang="x-none" altLang="en-US"/>
          </a:p>
        </p:txBody>
      </p:sp>
    </p:spTree>
    <p:extLst>
      <p:ext uri="{BB962C8B-B14F-4D97-AF65-F5344CB8AC3E}">
        <p14:creationId xmlns:p14="http://schemas.microsoft.com/office/powerpoint/2010/main" val="18332521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>
            <a:extLst>
              <a:ext uri="{FF2B5EF4-FFF2-40B4-BE49-F238E27FC236}">
                <a16:creationId xmlns:a16="http://schemas.microsoft.com/office/drawing/2014/main" id="{55C02455-6981-B74F-8B79-6DF8073784A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E20AB6E-091C-844F-ABF9-3EF4C2336578}" type="datetimeFigureOut">
              <a:rPr kumimoji="1" lang="x-none" altLang="en-US" smtClean="0"/>
              <a:pPr/>
              <a:t>2022-05-13</a:t>
            </a:fld>
            <a:endParaRPr kumimoji="1" lang="x-none" altLang="en-US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51F68BC3-AA06-B646-85C0-3754C40CDD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581420" y="6355967"/>
            <a:ext cx="1029159" cy="365125"/>
          </a:xfrm>
          <a:prstGeom prst="rect">
            <a:avLst/>
          </a:prstGeom>
        </p:spPr>
        <p:txBody>
          <a:bodyPr/>
          <a:lstStyle/>
          <a:p>
            <a:endParaRPr kumimoji="1" lang="x-none" altLang="en-US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B4CD303D-6A7D-4645-A406-F22C50CE83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33053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5D032BF-4D1A-EB41-AFEA-99DAB64F17B5}" type="slidenum">
              <a:rPr kumimoji="1" lang="x-none" altLang="en-US" smtClean="0"/>
              <a:pPr/>
              <a:t>‹#›</a:t>
            </a:fld>
            <a:endParaRPr kumimoji="1" lang="x-none" altLang="en-US"/>
          </a:p>
        </p:txBody>
      </p:sp>
    </p:spTree>
    <p:extLst>
      <p:ext uri="{BB962C8B-B14F-4D97-AF65-F5344CB8AC3E}">
        <p14:creationId xmlns:p14="http://schemas.microsoft.com/office/powerpoint/2010/main" val="8661684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C55B9B3-27DD-734F-883B-BC021ABE03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kumimoji="1" lang="ko-KR" altLang="en-US"/>
              <a:t>마스터 제목 스타일 편집</a:t>
            </a:r>
            <a:endParaRPr kumimoji="1" lang="x-none" altLang="en-US"/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3CE9FE82-CCA8-E240-AB65-75A84F9021B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kumimoji="1" lang="ko-KR" altLang="en-US"/>
              <a:t>마스터 텍스트 스타일을 편집하려면 클릭</a:t>
            </a:r>
          </a:p>
          <a:p>
            <a:pPr lvl="1"/>
            <a:r>
              <a:rPr kumimoji="1" lang="ko-KR" altLang="en-US"/>
              <a:t>두 번째 수준</a:t>
            </a:r>
          </a:p>
          <a:p>
            <a:pPr lvl="2"/>
            <a:r>
              <a:rPr kumimoji="1" lang="ko-KR" altLang="en-US"/>
              <a:t>세 번째 수준</a:t>
            </a:r>
          </a:p>
          <a:p>
            <a:pPr lvl="3"/>
            <a:r>
              <a:rPr kumimoji="1" lang="ko-KR" altLang="en-US"/>
              <a:t>네 번째 수준</a:t>
            </a:r>
          </a:p>
          <a:p>
            <a:pPr lvl="4"/>
            <a:r>
              <a:rPr kumimoji="1" lang="ko-KR" altLang="en-US"/>
              <a:t>다섯 번째 수준</a:t>
            </a:r>
            <a:endParaRPr kumimoji="1" lang="x-none" altLang="en-US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4BB8436B-5FE2-1447-9EC3-BEAF9A68C39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C9E51C8C-7C12-2245-A863-1244B7A9312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E20AB6E-091C-844F-ABF9-3EF4C2336578}" type="datetimeFigureOut">
              <a:rPr kumimoji="1" lang="x-none" altLang="en-US" smtClean="0"/>
              <a:pPr/>
              <a:t>2022-05-13</a:t>
            </a:fld>
            <a:endParaRPr kumimoji="1" lang="x-none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4782CB7C-D627-9647-8F56-B00CB9A302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581420" y="6355967"/>
            <a:ext cx="1029159" cy="365125"/>
          </a:xfrm>
          <a:prstGeom prst="rect">
            <a:avLst/>
          </a:prstGeom>
        </p:spPr>
        <p:txBody>
          <a:bodyPr/>
          <a:lstStyle/>
          <a:p>
            <a:endParaRPr kumimoji="1" lang="x-none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4CD74BA3-F423-A34B-8800-A6045769CB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33053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5D032BF-4D1A-EB41-AFEA-99DAB64F17B5}" type="slidenum">
              <a:rPr kumimoji="1" lang="x-none" altLang="en-US" smtClean="0"/>
              <a:pPr/>
              <a:t>‹#›</a:t>
            </a:fld>
            <a:endParaRPr kumimoji="1" lang="x-none" altLang="en-US"/>
          </a:p>
        </p:txBody>
      </p:sp>
    </p:spTree>
    <p:extLst>
      <p:ext uri="{BB962C8B-B14F-4D97-AF65-F5344CB8AC3E}">
        <p14:creationId xmlns:p14="http://schemas.microsoft.com/office/powerpoint/2010/main" val="17043965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EFD7488A-CB03-5040-B573-DF2A3636CF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kumimoji="1" lang="ko-KR" altLang="en-US"/>
              <a:t>마스터 제목 스타일 편집</a:t>
            </a:r>
            <a:endParaRPr kumimoji="1" lang="x-none" altLang="en-US"/>
          </a:p>
        </p:txBody>
      </p:sp>
      <p:sp>
        <p:nvSpPr>
          <p:cNvPr id="3" name="그림 개체 틀 2">
            <a:extLst>
              <a:ext uri="{FF2B5EF4-FFF2-40B4-BE49-F238E27FC236}">
                <a16:creationId xmlns:a16="http://schemas.microsoft.com/office/drawing/2014/main" id="{5E2B4E34-4F62-234A-BDDE-E603E5DE1FD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kumimoji="1" lang="x-none" altLang="en-US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DFB842A2-9A9A-9849-98C1-4CF61CDA5F5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A770922B-0B9C-2A42-A148-3EF917E3023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E20AB6E-091C-844F-ABF9-3EF4C2336578}" type="datetimeFigureOut">
              <a:rPr kumimoji="1" lang="x-none" altLang="en-US" smtClean="0"/>
              <a:pPr/>
              <a:t>2022-05-13</a:t>
            </a:fld>
            <a:endParaRPr kumimoji="1" lang="x-none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B0085D61-3843-A14E-BC5B-F1CF1043A2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581420" y="6355967"/>
            <a:ext cx="1029159" cy="365125"/>
          </a:xfrm>
          <a:prstGeom prst="rect">
            <a:avLst/>
          </a:prstGeom>
        </p:spPr>
        <p:txBody>
          <a:bodyPr/>
          <a:lstStyle/>
          <a:p>
            <a:endParaRPr kumimoji="1" lang="x-none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26DEE10E-E2D4-A844-A91F-C47C62D2AA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33053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5D032BF-4D1A-EB41-AFEA-99DAB64F17B5}" type="slidenum">
              <a:rPr kumimoji="1" lang="x-none" altLang="en-US" smtClean="0"/>
              <a:pPr/>
              <a:t>‹#›</a:t>
            </a:fld>
            <a:endParaRPr kumimoji="1" lang="x-none" altLang="en-US"/>
          </a:p>
        </p:txBody>
      </p:sp>
    </p:spTree>
    <p:extLst>
      <p:ext uri="{BB962C8B-B14F-4D97-AF65-F5344CB8AC3E}">
        <p14:creationId xmlns:p14="http://schemas.microsoft.com/office/powerpoint/2010/main" val="21482534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223560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x-non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4.jpeg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2.xml"/><Relationship Id="rId4" Type="http://schemas.microsoft.com/office/2007/relationships/hdphoto" Target="../media/hdphoto1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9D4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그룹 8">
            <a:extLst>
              <a:ext uri="{FF2B5EF4-FFF2-40B4-BE49-F238E27FC236}">
                <a16:creationId xmlns:a16="http://schemas.microsoft.com/office/drawing/2014/main" id="{E16F955F-3C40-AFD3-DB99-1D7BBA9B9B6D}"/>
              </a:ext>
            </a:extLst>
          </p:cNvPr>
          <p:cNvGrpSpPr/>
          <p:nvPr/>
        </p:nvGrpSpPr>
        <p:grpSpPr>
          <a:xfrm>
            <a:off x="2752582" y="2552411"/>
            <a:ext cx="6686836" cy="1753178"/>
            <a:chOff x="2752582" y="3051973"/>
            <a:chExt cx="6686836" cy="1753178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0219BB47-7F38-B841-90EA-A4A47147FDAB}"/>
                </a:ext>
              </a:extLst>
            </p:cNvPr>
            <p:cNvSpPr txBox="1"/>
            <p:nvPr/>
          </p:nvSpPr>
          <p:spPr>
            <a:xfrm>
              <a:off x="2752582" y="3051973"/>
              <a:ext cx="6686836" cy="8617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kumimoji="1" lang="en-US" altLang="en-US" sz="5000" b="1" dirty="0">
                  <a:solidFill>
                    <a:schemeClr val="bg1"/>
                  </a:solidFill>
                  <a:latin typeface="210 옴니고딕 030" panose="02020603020101020101" pitchFamily="18" charset="-127"/>
                  <a:ea typeface="210 옴니고딕 030" panose="02020603020101020101" pitchFamily="18" charset="-127"/>
                </a:rPr>
                <a:t>METAVERSE</a:t>
              </a:r>
              <a:endParaRPr kumimoji="1" lang="x-none" altLang="en-US" sz="5000" b="1" dirty="0">
                <a:solidFill>
                  <a:schemeClr val="bg1"/>
                </a:solidFill>
                <a:latin typeface="210 옴니고딕 030" panose="02020603020101020101" pitchFamily="18" charset="-127"/>
                <a:ea typeface="210 옴니고딕 030" panose="02020603020101020101" pitchFamily="18" charset="-127"/>
              </a:endParaRPr>
            </a:p>
          </p:txBody>
        </p:sp>
        <p:grpSp>
          <p:nvGrpSpPr>
            <p:cNvPr id="8" name="그룹 7">
              <a:extLst>
                <a:ext uri="{FF2B5EF4-FFF2-40B4-BE49-F238E27FC236}">
                  <a16:creationId xmlns:a16="http://schemas.microsoft.com/office/drawing/2014/main" id="{5E0C0EAA-C17C-B910-319A-10CFE79CAA56}"/>
                </a:ext>
              </a:extLst>
            </p:cNvPr>
            <p:cNvGrpSpPr/>
            <p:nvPr/>
          </p:nvGrpSpPr>
          <p:grpSpPr>
            <a:xfrm>
              <a:off x="4098008" y="3940778"/>
              <a:ext cx="3995984" cy="864373"/>
              <a:chOff x="6988628" y="5688891"/>
              <a:chExt cx="4969908" cy="1109080"/>
            </a:xfrm>
          </p:grpSpPr>
          <p:pic>
            <p:nvPicPr>
              <p:cNvPr id="3" name="Picture 4" descr="한양대학교 - 나무위키">
                <a:extLst>
                  <a:ext uri="{FF2B5EF4-FFF2-40B4-BE49-F238E27FC236}">
                    <a16:creationId xmlns:a16="http://schemas.microsoft.com/office/drawing/2014/main" id="{CB018ED8-8E8F-772C-1103-AA96C93C22C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988628" y="5688891"/>
                <a:ext cx="1109080" cy="110908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" name="Picture 2">
                <a:extLst>
                  <a:ext uri="{FF2B5EF4-FFF2-40B4-BE49-F238E27FC236}">
                    <a16:creationId xmlns:a16="http://schemas.microsoft.com/office/drawing/2014/main" id="{A0D566A1-AF21-73C8-46C4-20913AA4D44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279752" y="5688891"/>
                <a:ext cx="1623601" cy="110908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6" name="직선 연결선 5">
                <a:extLst>
                  <a:ext uri="{FF2B5EF4-FFF2-40B4-BE49-F238E27FC236}">
                    <a16:creationId xmlns:a16="http://schemas.microsoft.com/office/drawing/2014/main" id="{7D8A18A1-B4B2-C8D4-D8CF-4FEFDACCE6C6}"/>
                  </a:ext>
                </a:extLst>
              </p:cNvPr>
              <p:cNvCxnSpPr/>
              <p:nvPr/>
            </p:nvCxnSpPr>
            <p:spPr>
              <a:xfrm>
                <a:off x="10179698" y="5688891"/>
                <a:ext cx="0" cy="973166"/>
              </a:xfrm>
              <a:prstGeom prst="line">
                <a:avLst/>
              </a:prstGeom>
              <a:ln w="285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7" name="그림 6" descr="텍스트, 표지판, 어두운이(가) 표시된 사진&#10;&#10;자동 생성된 설명">
                <a:extLst>
                  <a:ext uri="{FF2B5EF4-FFF2-40B4-BE49-F238E27FC236}">
                    <a16:creationId xmlns:a16="http://schemas.microsoft.com/office/drawing/2014/main" id="{86C06051-5B01-6602-2822-6BC0E7FA657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/>
              <a:srcRect l="11758" t="21324" r="8433" b="20821"/>
              <a:stretch/>
            </p:blipFill>
            <p:spPr>
              <a:xfrm>
                <a:off x="10535118" y="5928360"/>
                <a:ext cx="1423418" cy="542925"/>
              </a:xfrm>
              <a:prstGeom prst="rect">
                <a:avLst/>
              </a:prstGeom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</p:grp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347A1722-EE0E-2F9A-3CE3-1F731703D4E6}"/>
              </a:ext>
            </a:extLst>
          </p:cNvPr>
          <p:cNvSpPr txBox="1"/>
          <p:nvPr/>
        </p:nvSpPr>
        <p:spPr>
          <a:xfrm>
            <a:off x="6991502" y="5602560"/>
            <a:ext cx="4895832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kumimoji="1" lang="ko-KR" altLang="en-US" sz="15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210 옴니고딕 030" panose="02020603020101020101" pitchFamily="18" charset="-127"/>
                <a:ea typeface="210 옴니고딕 030" panose="02020603020101020101" pitchFamily="18" charset="-127"/>
              </a:rPr>
              <a:t>인공지능융합학과 </a:t>
            </a:r>
            <a:r>
              <a:rPr kumimoji="1" lang="en-US" altLang="en-US" sz="15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210 옴니고딕 030" panose="02020603020101020101" pitchFamily="18" charset="-127"/>
                <a:ea typeface="210 옴니고딕 030" panose="02020603020101020101" pitchFamily="18" charset="-127"/>
              </a:rPr>
              <a:t>2021137675 </a:t>
            </a:r>
            <a:r>
              <a:rPr kumimoji="1" lang="ko-KR" altLang="en-US" sz="15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210 옴니고딕 030" panose="02020603020101020101" pitchFamily="18" charset="-127"/>
                <a:ea typeface="210 옴니고딕 030" panose="02020603020101020101" pitchFamily="18" charset="-127"/>
              </a:rPr>
              <a:t>서승훈</a:t>
            </a:r>
            <a:endParaRPr kumimoji="1" lang="en-US" altLang="ko-KR" sz="1500" b="1" dirty="0">
              <a:solidFill>
                <a:schemeClr val="tx1">
                  <a:lumMod val="85000"/>
                  <a:lumOff val="15000"/>
                </a:schemeClr>
              </a:solidFill>
              <a:latin typeface="210 옴니고딕 030" panose="02020603020101020101" pitchFamily="18" charset="-127"/>
              <a:ea typeface="210 옴니고딕 030" panose="02020603020101020101" pitchFamily="18" charset="-127"/>
            </a:endParaRPr>
          </a:p>
          <a:p>
            <a:pPr algn="r"/>
            <a:r>
              <a:rPr kumimoji="1" lang="ko-KR" altLang="en-US" sz="15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210 옴니고딕 030" panose="02020603020101020101" pitchFamily="18" charset="-127"/>
                <a:ea typeface="210 옴니고딕 030" panose="02020603020101020101" pitchFamily="18" charset="-127"/>
              </a:rPr>
              <a:t>로봇공학과 </a:t>
            </a:r>
            <a:r>
              <a:rPr kumimoji="1" lang="en-US" altLang="ko-KR" sz="15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210 옴니고딕 030" panose="02020603020101020101" pitchFamily="18" charset="-127"/>
                <a:ea typeface="210 옴니고딕 030" panose="02020603020101020101" pitchFamily="18" charset="-127"/>
              </a:rPr>
              <a:t>2018043381 </a:t>
            </a:r>
            <a:r>
              <a:rPr kumimoji="1" lang="ko-KR" altLang="en-US" sz="15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210 옴니고딕 030" panose="02020603020101020101" pitchFamily="18" charset="-127"/>
                <a:ea typeface="210 옴니고딕 030" panose="02020603020101020101" pitchFamily="18" charset="-127"/>
              </a:rPr>
              <a:t>이지화</a:t>
            </a:r>
            <a:endParaRPr kumimoji="1" lang="en-US" altLang="ko-KR" sz="1500" b="1" dirty="0">
              <a:solidFill>
                <a:schemeClr val="tx1">
                  <a:lumMod val="85000"/>
                  <a:lumOff val="15000"/>
                </a:schemeClr>
              </a:solidFill>
              <a:latin typeface="210 옴니고딕 030" panose="02020603020101020101" pitchFamily="18" charset="-127"/>
              <a:ea typeface="210 옴니고딕 030" panose="02020603020101020101" pitchFamily="18" charset="-127"/>
            </a:endParaRPr>
          </a:p>
          <a:p>
            <a:pPr algn="r"/>
            <a:r>
              <a:rPr kumimoji="1" lang="ko-KR" altLang="en-US" sz="15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210 옴니고딕 030" panose="02020603020101020101" pitchFamily="18" charset="-127"/>
                <a:ea typeface="210 옴니고딕 030" panose="02020603020101020101" pitchFamily="18" charset="-127"/>
              </a:rPr>
              <a:t>로봇공학과 </a:t>
            </a:r>
            <a:r>
              <a:rPr kumimoji="1" lang="x-none" altLang="en-US" sz="15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210 옴니고딕 030" panose="02020603020101020101" pitchFamily="18" charset="-127"/>
                <a:ea typeface="210 옴니고딕 030" panose="02020603020101020101" pitchFamily="18" charset="-127"/>
              </a:rPr>
              <a:t>2015041812</a:t>
            </a:r>
            <a:r>
              <a:rPr kumimoji="1" lang="en-US" altLang="en-US" sz="15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210 옴니고딕 030" panose="02020603020101020101" pitchFamily="18" charset="-127"/>
                <a:ea typeface="210 옴니고딕 030" panose="02020603020101020101" pitchFamily="18" charset="-127"/>
              </a:rPr>
              <a:t> </a:t>
            </a:r>
            <a:r>
              <a:rPr kumimoji="1" lang="ko-KR" altLang="en-US" sz="15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210 옴니고딕 030" panose="02020603020101020101" pitchFamily="18" charset="-127"/>
                <a:ea typeface="210 옴니고딕 030" panose="02020603020101020101" pitchFamily="18" charset="-127"/>
              </a:rPr>
              <a:t>이재성</a:t>
            </a:r>
            <a:r>
              <a:rPr kumimoji="1" lang="x-none" altLang="en-US" sz="15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210 옴니고딕 030" panose="02020603020101020101" pitchFamily="18" charset="-127"/>
                <a:ea typeface="210 옴니고딕 030" panose="02020603020101020101" pitchFamily="18" charset="-127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274503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553A531E-0264-474E-80E1-4D6EC51A9F73}"/>
              </a:ext>
            </a:extLst>
          </p:cNvPr>
          <p:cNvSpPr txBox="1"/>
          <p:nvPr/>
        </p:nvSpPr>
        <p:spPr>
          <a:xfrm>
            <a:off x="375388" y="368268"/>
            <a:ext cx="243848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3000" b="1" dirty="0">
                <a:solidFill>
                  <a:srgbClr val="009D4F"/>
                </a:solidFill>
                <a:latin typeface="210 옴니고딕 030" panose="02020603020101020101" pitchFamily="18" charset="-127"/>
                <a:ea typeface="210 옴니고딕 030" panose="02020603020101020101" pitchFamily="18" charset="-127"/>
              </a:rPr>
              <a:t>Contents</a:t>
            </a:r>
            <a:endParaRPr kumimoji="1" lang="x-none" altLang="en-US" sz="3000" b="1" dirty="0">
              <a:solidFill>
                <a:srgbClr val="009D4F"/>
              </a:solidFill>
              <a:latin typeface="210 옴니고딕 030" panose="02020603020101020101" pitchFamily="18" charset="-127"/>
              <a:ea typeface="210 옴니고딕 030" panose="02020603020101020101" pitchFamily="18" charset="-127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6F1A837-3EF0-CC4C-9E70-66BA9C46692F}"/>
              </a:ext>
            </a:extLst>
          </p:cNvPr>
          <p:cNvSpPr txBox="1"/>
          <p:nvPr/>
        </p:nvSpPr>
        <p:spPr>
          <a:xfrm>
            <a:off x="643249" y="1278206"/>
            <a:ext cx="3788217" cy="198515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514350" indent="-514350">
              <a:lnSpc>
                <a:spcPct val="130000"/>
              </a:lnSpc>
              <a:buFontTx/>
              <a:buAutoNum type="arabicPeriod"/>
            </a:pPr>
            <a:r>
              <a:rPr kumimoji="1" lang="ko-KR" altLang="en-US" sz="2400" dirty="0">
                <a:solidFill>
                  <a:schemeClr val="tx1">
                    <a:lumMod val="85000"/>
                    <a:lumOff val="15000"/>
                  </a:schemeClr>
                </a:solidFill>
                <a:latin typeface="210 옴니고딕 030" panose="02020603020101020101" pitchFamily="18" charset="-127"/>
                <a:ea typeface="210 옴니고딕 030" panose="02020603020101020101" pitchFamily="18" charset="-127"/>
              </a:rPr>
              <a:t>인사 관련 보고</a:t>
            </a:r>
            <a:endParaRPr kumimoji="1" lang="en-US" altLang="ko-KR" sz="2400" dirty="0">
              <a:solidFill>
                <a:schemeClr val="tx1">
                  <a:lumMod val="85000"/>
                  <a:lumOff val="15000"/>
                </a:schemeClr>
              </a:solidFill>
              <a:latin typeface="210 옴니고딕 030" panose="02020603020101020101" pitchFamily="18" charset="-127"/>
              <a:ea typeface="210 옴니고딕 030" panose="02020603020101020101" pitchFamily="18" charset="-127"/>
            </a:endParaRPr>
          </a:p>
          <a:p>
            <a:pPr marL="514350" indent="-514350">
              <a:lnSpc>
                <a:spcPct val="130000"/>
              </a:lnSpc>
              <a:buFontTx/>
              <a:buAutoNum type="arabicPeriod"/>
            </a:pPr>
            <a:r>
              <a:rPr kumimoji="1" lang="ko-KR" altLang="en-US" sz="2400" dirty="0">
                <a:solidFill>
                  <a:schemeClr val="tx1">
                    <a:lumMod val="85000"/>
                    <a:lumOff val="15000"/>
                  </a:schemeClr>
                </a:solidFill>
                <a:latin typeface="210 옴니고딕 030" panose="02020603020101020101" pitchFamily="18" charset="-127"/>
                <a:ea typeface="210 옴니고딕 030" panose="02020603020101020101" pitchFamily="18" charset="-127"/>
              </a:rPr>
              <a:t>출장 보고 및 협의 사항</a:t>
            </a:r>
            <a:endParaRPr kumimoji="1" lang="en-US" altLang="ko-KR" sz="2400" dirty="0">
              <a:solidFill>
                <a:schemeClr val="tx1">
                  <a:lumMod val="85000"/>
                  <a:lumOff val="15000"/>
                </a:schemeClr>
              </a:solidFill>
              <a:latin typeface="210 옴니고딕 030" panose="02020603020101020101" pitchFamily="18" charset="-127"/>
              <a:ea typeface="210 옴니고딕 030" panose="02020603020101020101" pitchFamily="18" charset="-127"/>
            </a:endParaRPr>
          </a:p>
          <a:p>
            <a:pPr marL="514350" indent="-514350">
              <a:lnSpc>
                <a:spcPct val="130000"/>
              </a:lnSpc>
              <a:buFontTx/>
              <a:buAutoNum type="arabicPeriod"/>
            </a:pPr>
            <a:r>
              <a:rPr kumimoji="1" lang="ko-KR" altLang="en-US" sz="2400" dirty="0">
                <a:solidFill>
                  <a:schemeClr val="tx1">
                    <a:lumMod val="85000"/>
                    <a:lumOff val="15000"/>
                  </a:schemeClr>
                </a:solidFill>
                <a:latin typeface="210 옴니고딕 030" panose="02020603020101020101" pitchFamily="18" charset="-127"/>
                <a:ea typeface="210 옴니고딕 030" panose="02020603020101020101" pitchFamily="18" charset="-127"/>
              </a:rPr>
              <a:t>진행 사항</a:t>
            </a:r>
            <a:endParaRPr kumimoji="1" lang="en-US" altLang="ko-KR" sz="2400" dirty="0">
              <a:solidFill>
                <a:schemeClr val="tx1">
                  <a:lumMod val="85000"/>
                  <a:lumOff val="15000"/>
                </a:schemeClr>
              </a:solidFill>
              <a:latin typeface="210 옴니고딕 030" panose="02020603020101020101" pitchFamily="18" charset="-127"/>
              <a:ea typeface="210 옴니고딕 030" panose="02020603020101020101" pitchFamily="18" charset="-127"/>
            </a:endParaRPr>
          </a:p>
          <a:p>
            <a:pPr marL="514350" indent="-514350">
              <a:lnSpc>
                <a:spcPct val="130000"/>
              </a:lnSpc>
              <a:buFontTx/>
              <a:buAutoNum type="arabicPeriod"/>
            </a:pPr>
            <a:r>
              <a:rPr kumimoji="1" lang="ko-KR" altLang="en-US" sz="2400" dirty="0">
                <a:solidFill>
                  <a:schemeClr val="tx1">
                    <a:lumMod val="85000"/>
                    <a:lumOff val="15000"/>
                  </a:schemeClr>
                </a:solidFill>
                <a:latin typeface="210 옴니고딕 030" panose="02020603020101020101" pitchFamily="18" charset="-127"/>
                <a:ea typeface="210 옴니고딕 030" panose="02020603020101020101" pitchFamily="18" charset="-127"/>
              </a:rPr>
              <a:t>향후 계획</a:t>
            </a:r>
            <a:endParaRPr kumimoji="1" lang="en-US" altLang="ko-KR" sz="2400" dirty="0">
              <a:solidFill>
                <a:schemeClr val="tx1">
                  <a:lumMod val="85000"/>
                  <a:lumOff val="15000"/>
                </a:schemeClr>
              </a:solidFill>
              <a:latin typeface="210 옴니고딕 030" panose="02020603020101020101" pitchFamily="18" charset="-127"/>
              <a:ea typeface="210 옴니고딕 030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1046660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Box 19">
            <a:extLst>
              <a:ext uri="{FF2B5EF4-FFF2-40B4-BE49-F238E27FC236}">
                <a16:creationId xmlns:a16="http://schemas.microsoft.com/office/drawing/2014/main" id="{BB1F688A-EECA-AD4B-9974-52A755017E57}"/>
              </a:ext>
            </a:extLst>
          </p:cNvPr>
          <p:cNvSpPr txBox="1"/>
          <p:nvPr/>
        </p:nvSpPr>
        <p:spPr>
          <a:xfrm>
            <a:off x="467545" y="391233"/>
            <a:ext cx="2558714" cy="5894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en-US" altLang="ko-KR" sz="2400" b="1" dirty="0">
                <a:solidFill>
                  <a:srgbClr val="009D4F"/>
                </a:solidFill>
                <a:latin typeface="Noto Sans CJK KR Bold" panose="020B0500000000000000" pitchFamily="34" charset="-128"/>
                <a:ea typeface="Noto Sans CJK KR Bold" panose="020B0500000000000000" pitchFamily="34" charset="-128"/>
              </a:rPr>
              <a:t>1. </a:t>
            </a:r>
            <a:r>
              <a:rPr kumimoji="1" lang="ko-KR" altLang="en-US" sz="2400" b="1" dirty="0">
                <a:solidFill>
                  <a:srgbClr val="009D4F"/>
                </a:solidFill>
                <a:latin typeface="Noto Sans CJK KR Bold" panose="020B0500000000000000" pitchFamily="34" charset="-128"/>
                <a:ea typeface="Noto Sans CJK KR Bold" panose="020B0500000000000000" pitchFamily="34" charset="-128"/>
              </a:rPr>
              <a:t>인사 관련 보고</a:t>
            </a:r>
            <a:endParaRPr kumimoji="1" lang="en-US" altLang="ko-KR" sz="2400" b="1" dirty="0">
              <a:solidFill>
                <a:srgbClr val="009D4F"/>
              </a:solidFill>
              <a:latin typeface="Noto Sans CJK KR Bold" panose="020B0500000000000000" pitchFamily="34" charset="-128"/>
              <a:ea typeface="Noto Sans CJK KR Bold" panose="020B0500000000000000" pitchFamily="34" charset="-128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6F1A837-3EF0-CC4C-9E70-66BA9C46692F}"/>
              </a:ext>
            </a:extLst>
          </p:cNvPr>
          <p:cNvSpPr txBox="1"/>
          <p:nvPr/>
        </p:nvSpPr>
        <p:spPr>
          <a:xfrm>
            <a:off x="627795" y="1239394"/>
            <a:ext cx="10533384" cy="43792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14350" indent="-514350">
              <a:lnSpc>
                <a:spcPct val="130000"/>
              </a:lnSpc>
            </a:pPr>
            <a:r>
              <a:rPr kumimoji="1" lang="ko-KR" altLang="en-US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210 옴니고딕 030" panose="02020603020101020101" pitchFamily="18" charset="-127"/>
                <a:ea typeface="210 옴니고딕 030" panose="02020603020101020101" pitchFamily="18" charset="-127"/>
              </a:rPr>
              <a:t>팀장 </a:t>
            </a:r>
            <a:r>
              <a:rPr kumimoji="1" lang="en-US" altLang="ko-KR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210 옴니고딕 030" panose="02020603020101020101" pitchFamily="18" charset="-127"/>
                <a:ea typeface="210 옴니고딕 030" panose="02020603020101020101" pitchFamily="18" charset="-127"/>
              </a:rPr>
              <a:t>: </a:t>
            </a:r>
            <a:r>
              <a:rPr kumimoji="1" lang="ko-KR" altLang="en-US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210 옴니고딕 030" panose="02020603020101020101" pitchFamily="18" charset="-127"/>
                <a:ea typeface="210 옴니고딕 030" panose="02020603020101020101" pitchFamily="18" charset="-127"/>
              </a:rPr>
              <a:t>서승훈</a:t>
            </a:r>
            <a:endParaRPr kumimoji="1" lang="en-US" altLang="ko-KR" sz="2400" b="1" dirty="0">
              <a:solidFill>
                <a:schemeClr val="tx1">
                  <a:lumMod val="85000"/>
                  <a:lumOff val="15000"/>
                </a:schemeClr>
              </a:solidFill>
              <a:latin typeface="210 옴니고딕 030" panose="02020603020101020101" pitchFamily="18" charset="-127"/>
              <a:ea typeface="210 옴니고딕 030" panose="02020603020101020101" pitchFamily="18" charset="-127"/>
            </a:endParaRPr>
          </a:p>
          <a:p>
            <a:pPr marL="514350" indent="-514350">
              <a:lnSpc>
                <a:spcPct val="130000"/>
              </a:lnSpc>
            </a:pPr>
            <a:endParaRPr kumimoji="1" lang="en-US" altLang="ko-KR" sz="2400" dirty="0">
              <a:solidFill>
                <a:schemeClr val="tx1">
                  <a:lumMod val="85000"/>
                  <a:lumOff val="15000"/>
                </a:schemeClr>
              </a:solidFill>
              <a:latin typeface="210 옴니고딕 030" panose="02020603020101020101" pitchFamily="18" charset="-127"/>
              <a:ea typeface="210 옴니고딕 030" panose="02020603020101020101" pitchFamily="18" charset="-127"/>
            </a:endParaRPr>
          </a:p>
          <a:p>
            <a:pPr marL="514350" indent="-514350">
              <a:lnSpc>
                <a:spcPct val="130000"/>
              </a:lnSpc>
            </a:pPr>
            <a:r>
              <a:rPr kumimoji="1" lang="ko-KR" altLang="en-US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210 옴니고딕 030" panose="02020603020101020101" pitchFamily="18" charset="-127"/>
                <a:ea typeface="210 옴니고딕 030" panose="02020603020101020101" pitchFamily="18" charset="-127"/>
              </a:rPr>
              <a:t>주임 </a:t>
            </a:r>
            <a:r>
              <a:rPr kumimoji="1" lang="en-US" altLang="ko-KR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210 옴니고딕 030" panose="02020603020101020101" pitchFamily="18" charset="-127"/>
                <a:ea typeface="210 옴니고딕 030" panose="02020603020101020101" pitchFamily="18" charset="-127"/>
              </a:rPr>
              <a:t>: </a:t>
            </a:r>
            <a:r>
              <a:rPr kumimoji="1" lang="ko-KR" altLang="en-US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210 옴니고딕 030" panose="02020603020101020101" pitchFamily="18" charset="-127"/>
                <a:ea typeface="210 옴니고딕 030" panose="02020603020101020101" pitchFamily="18" charset="-127"/>
              </a:rPr>
              <a:t>이지화</a:t>
            </a:r>
            <a:endParaRPr kumimoji="1" lang="en-US" altLang="ko-KR" sz="2400" b="1" dirty="0">
              <a:solidFill>
                <a:schemeClr val="tx1">
                  <a:lumMod val="85000"/>
                  <a:lumOff val="15000"/>
                </a:schemeClr>
              </a:solidFill>
              <a:latin typeface="210 옴니고딕 030" panose="02020603020101020101" pitchFamily="18" charset="-127"/>
              <a:ea typeface="210 옴니고딕 030" panose="02020603020101020101" pitchFamily="18" charset="-127"/>
            </a:endParaRPr>
          </a:p>
          <a:p>
            <a:pPr marL="514350" indent="-514350">
              <a:lnSpc>
                <a:spcPct val="130000"/>
              </a:lnSpc>
            </a:pPr>
            <a:endParaRPr kumimoji="1" lang="en-US" altLang="ko-KR" sz="2400" dirty="0">
              <a:solidFill>
                <a:schemeClr val="tx1">
                  <a:lumMod val="85000"/>
                  <a:lumOff val="15000"/>
                </a:schemeClr>
              </a:solidFill>
              <a:latin typeface="210 옴니고딕 030" panose="02020603020101020101" pitchFamily="18" charset="-127"/>
              <a:ea typeface="210 옴니고딕 030" panose="02020603020101020101" pitchFamily="18" charset="-127"/>
            </a:endParaRPr>
          </a:p>
          <a:p>
            <a:pPr marL="514350" indent="-514350">
              <a:lnSpc>
                <a:spcPct val="130000"/>
              </a:lnSpc>
            </a:pPr>
            <a:r>
              <a:rPr kumimoji="1" lang="ko-KR" altLang="en-US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210 옴니고딕 030" panose="02020603020101020101" pitchFamily="18" charset="-127"/>
                <a:ea typeface="210 옴니고딕 030" panose="02020603020101020101" pitchFamily="18" charset="-127"/>
              </a:rPr>
              <a:t>추가 인원 </a:t>
            </a:r>
            <a:r>
              <a:rPr kumimoji="1" lang="en-US" altLang="ko-KR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210 옴니고딕 030" panose="02020603020101020101" pitchFamily="18" charset="-127"/>
                <a:ea typeface="210 옴니고딕 030" panose="02020603020101020101" pitchFamily="18" charset="-127"/>
              </a:rPr>
              <a:t>: </a:t>
            </a:r>
            <a:r>
              <a:rPr kumimoji="1" lang="ko-KR" altLang="en-US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210 옴니고딕 030" panose="02020603020101020101" pitchFamily="18" charset="-127"/>
                <a:ea typeface="210 옴니고딕 030" panose="02020603020101020101" pitchFamily="18" charset="-127"/>
              </a:rPr>
              <a:t>이재성 </a:t>
            </a:r>
            <a:r>
              <a:rPr kumimoji="1" lang="en-US" altLang="en-US" sz="1500" dirty="0">
                <a:solidFill>
                  <a:schemeClr val="tx1">
                    <a:lumMod val="85000"/>
                    <a:lumOff val="15000"/>
                  </a:schemeClr>
                </a:solidFill>
                <a:latin typeface="210 옴니고딕 030" panose="02020603020101020101" pitchFamily="18" charset="-127"/>
                <a:ea typeface="210 옴니고딕 030" panose="02020603020101020101" pitchFamily="18" charset="-127"/>
              </a:rPr>
              <a:t>[</a:t>
            </a:r>
            <a:r>
              <a:rPr kumimoji="1" lang="x-none" altLang="en-US" sz="1500" dirty="0">
                <a:solidFill>
                  <a:schemeClr val="tx1">
                    <a:lumMod val="85000"/>
                    <a:lumOff val="15000"/>
                  </a:schemeClr>
                </a:solidFill>
                <a:latin typeface="210 옴니고딕 030" panose="02020603020101020101" pitchFamily="18" charset="-127"/>
                <a:ea typeface="210 옴니고딕 030" panose="02020603020101020101" pitchFamily="18" charset="-127"/>
              </a:rPr>
              <a:t>2015041812</a:t>
            </a:r>
            <a:r>
              <a:rPr kumimoji="1" lang="en-US" altLang="en-US" sz="1500" dirty="0">
                <a:solidFill>
                  <a:schemeClr val="tx1">
                    <a:lumMod val="85000"/>
                    <a:lumOff val="15000"/>
                  </a:schemeClr>
                </a:solidFill>
                <a:latin typeface="210 옴니고딕 030" panose="02020603020101020101" pitchFamily="18" charset="-127"/>
                <a:ea typeface="210 옴니고딕 030" panose="02020603020101020101" pitchFamily="18" charset="-127"/>
              </a:rPr>
              <a:t>]</a:t>
            </a:r>
            <a:endParaRPr kumimoji="1" lang="en-US" altLang="ko-KR" sz="2400" dirty="0">
              <a:solidFill>
                <a:schemeClr val="tx1">
                  <a:lumMod val="85000"/>
                  <a:lumOff val="15000"/>
                </a:schemeClr>
              </a:solidFill>
              <a:latin typeface="210 옴니고딕 030" panose="02020603020101020101" pitchFamily="18" charset="-127"/>
              <a:ea typeface="210 옴니고딕 030" panose="02020603020101020101" pitchFamily="18" charset="-127"/>
            </a:endParaRPr>
          </a:p>
          <a:p>
            <a:pPr marL="514350" indent="-514350">
              <a:lnSpc>
                <a:spcPct val="130000"/>
              </a:lnSpc>
            </a:pPr>
            <a:r>
              <a:rPr lang="en-US" altLang="ko-KR" sz="1600" dirty="0">
                <a:latin typeface="210 옴니고딕 030" panose="02020603020101020101" pitchFamily="18" charset="-127"/>
                <a:ea typeface="210 옴니고딕 030" panose="02020603020101020101" pitchFamily="18" charset="-127"/>
              </a:rPr>
              <a:t>     - </a:t>
            </a:r>
            <a:r>
              <a:rPr lang="ko-KR" altLang="en-US" sz="1600" b="1" dirty="0">
                <a:latin typeface="210 옴니고딕 030" panose="02020603020101020101" pitchFamily="18" charset="-127"/>
                <a:ea typeface="210 옴니고딕 030" panose="02020603020101020101" pitchFamily="18" charset="-127"/>
              </a:rPr>
              <a:t>메타버스 </a:t>
            </a:r>
            <a:r>
              <a:rPr lang="ko-KR" altLang="en-US" sz="1600" b="1" dirty="0" err="1">
                <a:latin typeface="210 옴니고딕 030" panose="02020603020101020101" pitchFamily="18" charset="-127"/>
                <a:ea typeface="210 옴니고딕 030" panose="02020603020101020101" pitchFamily="18" charset="-127"/>
              </a:rPr>
              <a:t>챌린지</a:t>
            </a:r>
            <a:r>
              <a:rPr lang="ko-KR" altLang="en-US" sz="1600" b="1" dirty="0">
                <a:latin typeface="210 옴니고딕 030" panose="02020603020101020101" pitchFamily="18" charset="-127"/>
                <a:ea typeface="210 옴니고딕 030" panose="02020603020101020101" pitchFamily="18" charset="-127"/>
              </a:rPr>
              <a:t> 캠프 참여</a:t>
            </a:r>
            <a:r>
              <a:rPr lang="ko-KR" altLang="en-US" sz="1600" dirty="0">
                <a:latin typeface="210 옴니고딕 030" panose="02020603020101020101" pitchFamily="18" charset="-127"/>
                <a:ea typeface="210 옴니고딕 030" panose="02020603020101020101" pitchFamily="18" charset="-127"/>
              </a:rPr>
              <a:t>하였음</a:t>
            </a:r>
            <a:endParaRPr lang="en-US" altLang="ko-KR" sz="1600" dirty="0">
              <a:latin typeface="210 옴니고딕 030" panose="02020603020101020101" pitchFamily="18" charset="-127"/>
              <a:ea typeface="210 옴니고딕 030" panose="02020603020101020101" pitchFamily="18" charset="-127"/>
            </a:endParaRPr>
          </a:p>
          <a:p>
            <a:pPr>
              <a:lnSpc>
                <a:spcPct val="130000"/>
              </a:lnSpc>
            </a:pPr>
            <a:r>
              <a:rPr lang="en-US" altLang="ko-KR" sz="1600" dirty="0">
                <a:latin typeface="210 옴니고딕 030" panose="02020603020101020101" pitchFamily="18" charset="-127"/>
                <a:ea typeface="210 옴니고딕 030" panose="02020603020101020101" pitchFamily="18" charset="-127"/>
              </a:rPr>
              <a:t>     - </a:t>
            </a:r>
            <a:r>
              <a:rPr lang="ko-KR" altLang="en-US" sz="1600" dirty="0">
                <a:latin typeface="210 옴니고딕 030" panose="02020603020101020101" pitchFamily="18" charset="-127"/>
                <a:ea typeface="210 옴니고딕 030" panose="02020603020101020101" pitchFamily="18" charset="-127"/>
              </a:rPr>
              <a:t>현재 </a:t>
            </a:r>
            <a:r>
              <a:rPr lang="ko-KR" altLang="en-US" sz="1600" b="1" dirty="0">
                <a:latin typeface="210 옴니고딕 030" panose="02020603020101020101" pitchFamily="18" charset="-127"/>
                <a:ea typeface="210 옴니고딕 030" panose="02020603020101020101" pitchFamily="18" charset="-127"/>
              </a:rPr>
              <a:t>메타버스 아카데미</a:t>
            </a:r>
            <a:r>
              <a:rPr lang="ko-KR" altLang="en-US" sz="1600" dirty="0">
                <a:latin typeface="210 옴니고딕 030" panose="02020603020101020101" pitchFamily="18" charset="-127"/>
                <a:ea typeface="210 옴니고딕 030" panose="02020603020101020101" pitchFamily="18" charset="-127"/>
              </a:rPr>
              <a:t>에 다니고 있음</a:t>
            </a:r>
            <a:endParaRPr lang="en-US" altLang="ko-KR" sz="1600" dirty="0">
              <a:latin typeface="210 옴니고딕 030" panose="02020603020101020101" pitchFamily="18" charset="-127"/>
              <a:ea typeface="210 옴니고딕 030" panose="02020603020101020101" pitchFamily="18" charset="-127"/>
            </a:endParaRPr>
          </a:p>
          <a:p>
            <a:pPr>
              <a:lnSpc>
                <a:spcPct val="130000"/>
              </a:lnSpc>
            </a:pPr>
            <a:r>
              <a:rPr lang="en-US" altLang="ko-KR" sz="1600" dirty="0">
                <a:latin typeface="210 옴니고딕 030" panose="02020603020101020101" pitchFamily="18" charset="-127"/>
                <a:ea typeface="210 옴니고딕 030" panose="02020603020101020101" pitchFamily="18" charset="-127"/>
              </a:rPr>
              <a:t>     -  </a:t>
            </a:r>
            <a:r>
              <a:rPr lang="ko-KR" altLang="en-US" sz="1600" b="1" dirty="0" err="1">
                <a:latin typeface="210 옴니고딕 030" panose="02020603020101020101" pitchFamily="18" charset="-127"/>
                <a:ea typeface="210 옴니고딕 030" panose="02020603020101020101" pitchFamily="18" charset="-127"/>
              </a:rPr>
              <a:t>캡스톤</a:t>
            </a:r>
            <a:r>
              <a:rPr lang="ko-KR" altLang="en-US" sz="1600" b="1" dirty="0">
                <a:latin typeface="210 옴니고딕 030" panose="02020603020101020101" pitchFamily="18" charset="-127"/>
                <a:ea typeface="210 옴니고딕 030" panose="02020603020101020101" pitchFamily="18" charset="-127"/>
              </a:rPr>
              <a:t> 디자인</a:t>
            </a:r>
            <a:r>
              <a:rPr lang="ko-KR" altLang="en-US" sz="1600" dirty="0">
                <a:latin typeface="210 옴니고딕 030" panose="02020603020101020101" pitchFamily="18" charset="-127"/>
                <a:ea typeface="210 옴니고딕 030" panose="02020603020101020101" pitchFamily="18" charset="-127"/>
              </a:rPr>
              <a:t>도 </a:t>
            </a:r>
            <a:r>
              <a:rPr lang="ko-KR" altLang="en-US" sz="1600" b="1" dirty="0">
                <a:latin typeface="210 옴니고딕 030" panose="02020603020101020101" pitchFamily="18" charset="-127"/>
                <a:ea typeface="210 옴니고딕 030" panose="02020603020101020101" pitchFamily="18" charset="-127"/>
              </a:rPr>
              <a:t>메타버스  관련 </a:t>
            </a:r>
            <a:r>
              <a:rPr lang="en-US" altLang="ko-KR" sz="1600" b="1" dirty="0">
                <a:latin typeface="210 옴니고딕 030" panose="02020603020101020101" pitchFamily="18" charset="-127"/>
                <a:ea typeface="210 옴니고딕 030" panose="02020603020101020101" pitchFamily="18" charset="-127"/>
              </a:rPr>
              <a:t> </a:t>
            </a:r>
            <a:r>
              <a:rPr lang="ko-KR" altLang="en-US" sz="1600" b="1" dirty="0">
                <a:latin typeface="210 옴니고딕 030" panose="02020603020101020101" pitchFamily="18" charset="-127"/>
                <a:ea typeface="210 옴니고딕 030" panose="02020603020101020101" pitchFamily="18" charset="-127"/>
              </a:rPr>
              <a:t>프로젝트  </a:t>
            </a:r>
            <a:r>
              <a:rPr lang="ko-KR" altLang="en-US" sz="1600" dirty="0">
                <a:latin typeface="210 옴니고딕 030" panose="02020603020101020101" pitchFamily="18" charset="-127"/>
                <a:ea typeface="210 옴니고딕 030" panose="02020603020101020101" pitchFamily="18" charset="-127"/>
              </a:rPr>
              <a:t>진행 중</a:t>
            </a:r>
            <a:endParaRPr kumimoji="1" lang="en-US" altLang="ko-KR" sz="1600" dirty="0">
              <a:solidFill>
                <a:schemeClr val="tx1">
                  <a:lumMod val="85000"/>
                  <a:lumOff val="15000"/>
                </a:schemeClr>
              </a:solidFill>
              <a:latin typeface="210 옴니고딕 030" panose="02020603020101020101" pitchFamily="18" charset="-127"/>
              <a:ea typeface="210 옴니고딕 030" panose="02020603020101020101" pitchFamily="18" charset="-127"/>
            </a:endParaRPr>
          </a:p>
          <a:p>
            <a:pPr marL="514350" indent="-514350">
              <a:lnSpc>
                <a:spcPct val="130000"/>
              </a:lnSpc>
            </a:pPr>
            <a:endParaRPr kumimoji="1" lang="en-US" altLang="ko-KR" sz="2400" dirty="0">
              <a:solidFill>
                <a:schemeClr val="tx1">
                  <a:lumMod val="85000"/>
                  <a:lumOff val="15000"/>
                </a:schemeClr>
              </a:solidFill>
              <a:latin typeface="Noto Sans CJK KR DemiLight" panose="020B0400000000000000" pitchFamily="34" charset="-128"/>
              <a:ea typeface="Noto Sans CJK KR DemiLight" panose="020B0400000000000000" pitchFamily="34" charset="-128"/>
            </a:endParaRPr>
          </a:p>
          <a:p>
            <a:pPr marL="514350" indent="-514350">
              <a:lnSpc>
                <a:spcPct val="130000"/>
              </a:lnSpc>
            </a:pPr>
            <a:endParaRPr kumimoji="1" lang="en-US" altLang="ko-KR" sz="2400" dirty="0">
              <a:solidFill>
                <a:schemeClr val="tx1">
                  <a:lumMod val="85000"/>
                  <a:lumOff val="15000"/>
                </a:schemeClr>
              </a:solidFill>
              <a:latin typeface="Noto Sans CJK KR DemiLight" panose="020B0400000000000000" pitchFamily="34" charset="-128"/>
              <a:ea typeface="Noto Sans CJK KR DemiLight" panose="020B0400000000000000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0629049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Box 19">
            <a:extLst>
              <a:ext uri="{FF2B5EF4-FFF2-40B4-BE49-F238E27FC236}">
                <a16:creationId xmlns:a16="http://schemas.microsoft.com/office/drawing/2014/main" id="{BB1F688A-EECA-AD4B-9974-52A755017E57}"/>
              </a:ext>
            </a:extLst>
          </p:cNvPr>
          <p:cNvSpPr txBox="1"/>
          <p:nvPr/>
        </p:nvSpPr>
        <p:spPr>
          <a:xfrm>
            <a:off x="377972" y="369097"/>
            <a:ext cx="349486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en-US" altLang="ko-KR" sz="2400" b="1" dirty="0">
                <a:solidFill>
                  <a:srgbClr val="009D4F"/>
                </a:solidFill>
                <a:latin typeface="Noto Sans CJK KR Bold" panose="020B0500000000000000" pitchFamily="34" charset="-128"/>
                <a:ea typeface="Noto Sans CJK KR Bold" panose="020B0500000000000000" pitchFamily="34" charset="-128"/>
              </a:rPr>
              <a:t>2. </a:t>
            </a:r>
            <a:r>
              <a:rPr kumimoji="1" lang="ko-KR" altLang="en-US" sz="2400" b="1" dirty="0">
                <a:solidFill>
                  <a:srgbClr val="009D4F"/>
                </a:solidFill>
                <a:latin typeface="Noto Sans CJK KR Bold" panose="020B0500000000000000" pitchFamily="34" charset="-128"/>
                <a:ea typeface="Noto Sans CJK KR Bold" panose="020B0500000000000000" pitchFamily="34" charset="-128"/>
              </a:rPr>
              <a:t>출장보고 및 협의사항 </a:t>
            </a:r>
            <a:endParaRPr kumimoji="1" lang="en-US" altLang="ko-KR" sz="2400" b="1" dirty="0">
              <a:solidFill>
                <a:srgbClr val="009D4F"/>
              </a:solidFill>
              <a:latin typeface="Noto Sans CJK KR Bold" panose="020B0500000000000000" pitchFamily="34" charset="-128"/>
              <a:ea typeface="Noto Sans CJK KR Bold" panose="020B0500000000000000" pitchFamily="34" charset="-12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6F1A837-3EF0-CC4C-9E70-66BA9C46692F}"/>
              </a:ext>
            </a:extLst>
          </p:cNvPr>
          <p:cNvSpPr txBox="1"/>
          <p:nvPr/>
        </p:nvSpPr>
        <p:spPr>
          <a:xfrm>
            <a:off x="499533" y="1161754"/>
            <a:ext cx="111916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600" b="1" dirty="0">
                <a:latin typeface="210 옴니고딕 030" panose="02020603020101020101" pitchFamily="18" charset="-127"/>
                <a:ea typeface="210 옴니고딕 030" panose="02020603020101020101" pitchFamily="18" charset="-127"/>
              </a:rPr>
              <a:t>1) C# </a:t>
            </a:r>
            <a:r>
              <a:rPr lang="ko-KR" altLang="en-US" sz="1600" b="1" dirty="0">
                <a:latin typeface="210 옴니고딕 030" panose="02020603020101020101" pitchFamily="18" charset="-127"/>
                <a:ea typeface="210 옴니고딕 030" panose="02020603020101020101" pitchFamily="18" charset="-127"/>
              </a:rPr>
              <a:t>개발자 분께 관련 사항 인수 인계</a:t>
            </a:r>
            <a:r>
              <a:rPr lang="en-US" altLang="ko-KR" sz="1600" b="1" dirty="0">
                <a:latin typeface="210 옴니고딕 030" panose="02020603020101020101" pitchFamily="18" charset="-127"/>
                <a:ea typeface="210 옴니고딕 030" panose="02020603020101020101" pitchFamily="18" charset="-127"/>
              </a:rPr>
              <a:t> 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5"/>
          <a:srcRect b="21337"/>
          <a:stretch>
            <a:fillRect/>
          </a:stretch>
        </p:blipFill>
        <p:spPr bwMode="auto">
          <a:xfrm>
            <a:off x="783462" y="3952921"/>
            <a:ext cx="4090014" cy="241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pSp>
        <p:nvGrpSpPr>
          <p:cNvPr id="2" name="그룹 1">
            <a:extLst>
              <a:ext uri="{FF2B5EF4-FFF2-40B4-BE49-F238E27FC236}">
                <a16:creationId xmlns:a16="http://schemas.microsoft.com/office/drawing/2014/main" id="{4A303786-1D86-97E5-E38B-BB88EC379A2D}"/>
              </a:ext>
            </a:extLst>
          </p:cNvPr>
          <p:cNvGrpSpPr/>
          <p:nvPr/>
        </p:nvGrpSpPr>
        <p:grpSpPr>
          <a:xfrm>
            <a:off x="783462" y="1726299"/>
            <a:ext cx="10625076" cy="666645"/>
            <a:chOff x="868398" y="2059622"/>
            <a:chExt cx="10625076" cy="666645"/>
          </a:xfrm>
        </p:grpSpPr>
        <p:sp>
          <p:nvSpPr>
            <p:cNvPr id="5" name="Text Box 13">
              <a:extLst>
                <a:ext uri="{FF2B5EF4-FFF2-40B4-BE49-F238E27FC236}">
                  <a16:creationId xmlns:a16="http://schemas.microsoft.com/office/drawing/2014/main" id="{A55FD19C-7269-D9F5-9508-B2F497D2E341}"/>
                </a:ext>
              </a:extLst>
            </p:cNvPr>
            <p:cNvSpPr txBox="1"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868398" y="2059622"/>
              <a:ext cx="3240000" cy="666645"/>
            </a:xfrm>
            <a:prstGeom prst="homePlate">
              <a:avLst>
                <a:gd name="adj" fmla="val 38777"/>
              </a:avLst>
            </a:prstGeom>
            <a:solidFill>
              <a:srgbClr val="009D4F"/>
            </a:solidFill>
            <a:ln w="9525" cap="sq" algn="ctr">
              <a:noFill/>
              <a:miter lim="800000"/>
              <a:headEnd/>
              <a:tailEnd/>
            </a:ln>
            <a:effectLst/>
          </p:spPr>
          <p:txBody>
            <a:bodyPr lIns="90000" tIns="44450" rIns="90000" bIns="44450" anchor="ctr"/>
            <a:lstStyle/>
            <a:p>
              <a:pPr algn="ctr" eaLnBrk="0" hangingPunct="0">
                <a:spcBef>
                  <a:spcPct val="50000"/>
                </a:spcBef>
              </a:pPr>
              <a:r>
                <a:rPr lang="ko-KR" altLang="en-US" dirty="0">
                  <a:latin typeface="210 옴니고딕 030" panose="02020603020101020101" pitchFamily="18" charset="-127"/>
                  <a:ea typeface="210 옴니고딕 030" panose="02020603020101020101" pitchFamily="18" charset="-127"/>
                  <a:cs typeface="Arial" charset="0"/>
                </a:rPr>
                <a:t>업무 프로세스</a:t>
              </a:r>
              <a:endParaRPr lang="en-US" altLang="ko-KR" dirty="0">
                <a:latin typeface="210 옴니고딕 030" panose="02020603020101020101" pitchFamily="18" charset="-127"/>
                <a:ea typeface="210 옴니고딕 030" panose="02020603020101020101" pitchFamily="18" charset="-127"/>
                <a:cs typeface="Arial" charset="0"/>
              </a:endParaRPr>
            </a:p>
          </p:txBody>
        </p:sp>
        <p:sp>
          <p:nvSpPr>
            <p:cNvPr id="6" name="Text Box 13">
              <a:extLst>
                <a:ext uri="{FF2B5EF4-FFF2-40B4-BE49-F238E27FC236}">
                  <a16:creationId xmlns:a16="http://schemas.microsoft.com/office/drawing/2014/main" id="{A71F6999-5C6D-EA84-EAB4-12EE3A5877E5}"/>
                </a:ext>
              </a:extLst>
            </p:cNvPr>
            <p:cNvSpPr txBox="1"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4560936" y="2059622"/>
              <a:ext cx="3240000" cy="666645"/>
            </a:xfrm>
            <a:prstGeom prst="homePlate">
              <a:avLst>
                <a:gd name="adj" fmla="val 38777"/>
              </a:avLst>
            </a:prstGeom>
            <a:solidFill>
              <a:srgbClr val="009D4F"/>
            </a:solidFill>
            <a:ln w="9525" cap="sq" algn="ctr">
              <a:noFill/>
              <a:miter lim="800000"/>
              <a:headEnd/>
              <a:tailEnd/>
            </a:ln>
            <a:effectLst/>
          </p:spPr>
          <p:txBody>
            <a:bodyPr lIns="90000" tIns="44450" rIns="90000" bIns="44450" anchor="ctr"/>
            <a:lstStyle/>
            <a:p>
              <a:pPr algn="ctr" eaLnBrk="0" hangingPunct="0">
                <a:spcBef>
                  <a:spcPct val="50000"/>
                </a:spcBef>
              </a:pPr>
              <a:r>
                <a:rPr lang="ko-KR" altLang="en-US" dirty="0">
                  <a:latin typeface="210 옴니고딕 030" panose="02020603020101020101" pitchFamily="18" charset="-127"/>
                  <a:ea typeface="210 옴니고딕 030" panose="02020603020101020101" pitchFamily="18" charset="-127"/>
                  <a:cs typeface="Arial" charset="0"/>
                </a:rPr>
                <a:t>건솔루션 프로젝트 구조</a:t>
              </a:r>
              <a:endParaRPr lang="en-US" altLang="ko-KR" dirty="0">
                <a:latin typeface="210 옴니고딕 030" panose="02020603020101020101" pitchFamily="18" charset="-127"/>
                <a:ea typeface="210 옴니고딕 030" panose="02020603020101020101" pitchFamily="18" charset="-127"/>
                <a:cs typeface="Arial" charset="0"/>
              </a:endParaRPr>
            </a:p>
          </p:txBody>
        </p:sp>
        <p:sp>
          <p:nvSpPr>
            <p:cNvPr id="7" name="Text Box 13">
              <a:extLst>
                <a:ext uri="{FF2B5EF4-FFF2-40B4-BE49-F238E27FC236}">
                  <a16:creationId xmlns:a16="http://schemas.microsoft.com/office/drawing/2014/main" id="{56AA7FF0-1366-8F6E-AE91-80FF56663358}"/>
                </a:ext>
              </a:extLst>
            </p:cNvPr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8253474" y="2059622"/>
              <a:ext cx="3240000" cy="666645"/>
            </a:xfrm>
            <a:prstGeom prst="homePlate">
              <a:avLst>
                <a:gd name="adj" fmla="val 38777"/>
              </a:avLst>
            </a:prstGeom>
            <a:solidFill>
              <a:srgbClr val="009D4F"/>
            </a:solidFill>
            <a:ln w="9525" cap="sq" algn="ctr">
              <a:noFill/>
              <a:miter lim="800000"/>
              <a:headEnd/>
              <a:tailEnd/>
            </a:ln>
            <a:effectLst/>
          </p:spPr>
          <p:txBody>
            <a:bodyPr lIns="90000" tIns="44450" rIns="90000" bIns="44450" anchor="ctr"/>
            <a:lstStyle/>
            <a:p>
              <a:pPr algn="ctr" eaLnBrk="0" hangingPunct="0">
                <a:spcBef>
                  <a:spcPct val="50000"/>
                </a:spcBef>
              </a:pPr>
              <a:r>
                <a:rPr lang="en-US" altLang="ko-KR" dirty="0">
                  <a:latin typeface="210 옴니고딕 030" panose="02020603020101020101" pitchFamily="18" charset="-127"/>
                  <a:ea typeface="210 옴니고딕 030" panose="02020603020101020101" pitchFamily="18" charset="-127"/>
                  <a:cs typeface="Arial" charset="0"/>
                </a:rPr>
                <a:t>SVN</a:t>
              </a:r>
              <a:r>
                <a:rPr lang="ko-KR" altLang="en-US" dirty="0">
                  <a:latin typeface="210 옴니고딕 030" panose="02020603020101020101" pitchFamily="18" charset="-127"/>
                  <a:ea typeface="210 옴니고딕 030" panose="02020603020101020101" pitchFamily="18" charset="-127"/>
                  <a:cs typeface="Arial" charset="0"/>
                </a:rPr>
                <a:t> 사용법 및 계정 인수</a:t>
              </a:r>
              <a:endParaRPr lang="en-US" altLang="ko-KR" dirty="0">
                <a:latin typeface="210 옴니고딕 030" panose="02020603020101020101" pitchFamily="18" charset="-127"/>
                <a:ea typeface="210 옴니고딕 030" panose="02020603020101020101" pitchFamily="18" charset="-127"/>
                <a:cs typeface="Arial" charset="0"/>
              </a:endParaRPr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58202479-D571-C57D-C163-58701B6D8052}"/>
              </a:ext>
            </a:extLst>
          </p:cNvPr>
          <p:cNvSpPr txBox="1"/>
          <p:nvPr/>
        </p:nvSpPr>
        <p:spPr>
          <a:xfrm>
            <a:off x="499533" y="3522034"/>
            <a:ext cx="60935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/>
            <a:r>
              <a:rPr lang="en-US" altLang="ko-KR" sz="1600" b="1" dirty="0">
                <a:latin typeface="210 옴니고딕 030" panose="02020603020101020101" pitchFamily="18" charset="-127"/>
                <a:ea typeface="210 옴니고딕 030" panose="02020603020101020101" pitchFamily="18" charset="-127"/>
              </a:rPr>
              <a:t>2) </a:t>
            </a:r>
            <a:r>
              <a:rPr lang="ko-KR" altLang="en-US" sz="1600" b="1" dirty="0">
                <a:latin typeface="210 옴니고딕 030" panose="02020603020101020101" pitchFamily="18" charset="-127"/>
                <a:ea typeface="210 옴니고딕 030" panose="02020603020101020101" pitchFamily="18" charset="-127"/>
              </a:rPr>
              <a:t>건솔루션에서 하고 있는 일</a:t>
            </a:r>
            <a:endParaRPr lang="en-US" altLang="ko-KR" sz="1600" b="1" dirty="0">
              <a:latin typeface="210 옴니고딕 030" panose="02020603020101020101" pitchFamily="18" charset="-127"/>
              <a:ea typeface="210 옴니고딕 030" panose="02020603020101020101" pitchFamily="18" charset="-127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839FE9E-8392-F0A1-C05B-E4E8F3EA6DFA}"/>
              </a:ext>
            </a:extLst>
          </p:cNvPr>
          <p:cNvSpPr txBox="1"/>
          <p:nvPr/>
        </p:nvSpPr>
        <p:spPr>
          <a:xfrm>
            <a:off x="742954" y="2603741"/>
            <a:ext cx="60935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sz="1400" dirty="0" err="1">
                <a:latin typeface="210 옴니고딕 030" panose="02020603020101020101" pitchFamily="18" charset="-127"/>
                <a:ea typeface="210 옴니고딕 030" panose="02020603020101020101" pitchFamily="18" charset="-127"/>
              </a:rPr>
              <a:t>서석종</a:t>
            </a:r>
            <a:r>
              <a:rPr lang="ko-KR" altLang="en-US" sz="1400" dirty="0">
                <a:latin typeface="210 옴니고딕 030" panose="02020603020101020101" pitchFamily="18" charset="-127"/>
                <a:ea typeface="210 옴니고딕 030" panose="02020603020101020101" pitchFamily="18" charset="-127"/>
              </a:rPr>
              <a:t> 이사 </a:t>
            </a:r>
            <a:r>
              <a:rPr lang="en-US" altLang="ko-KR" sz="1400" dirty="0">
                <a:latin typeface="210 옴니고딕 030" panose="02020603020101020101" pitchFamily="18" charset="-127"/>
                <a:ea typeface="210 옴니고딕 030" panose="02020603020101020101" pitchFamily="18" charset="-127"/>
              </a:rPr>
              <a:t>(1</a:t>
            </a:r>
            <a:r>
              <a:rPr lang="ko-KR" altLang="en-US" sz="1400" dirty="0">
                <a:latin typeface="210 옴니고딕 030" panose="02020603020101020101" pitchFamily="18" charset="-127"/>
                <a:ea typeface="210 옴니고딕 030" panose="02020603020101020101" pitchFamily="18" charset="-127"/>
              </a:rPr>
              <a:t>개월</a:t>
            </a:r>
            <a:r>
              <a:rPr lang="en-US" altLang="ko-KR" sz="1400" dirty="0">
                <a:latin typeface="210 옴니고딕 030" panose="02020603020101020101" pitchFamily="18" charset="-127"/>
                <a:ea typeface="210 옴니고딕 030" panose="02020603020101020101" pitchFamily="18" charset="-127"/>
              </a:rPr>
              <a:t>), </a:t>
            </a:r>
            <a:r>
              <a:rPr lang="ko-KR" altLang="en-US" sz="1400" dirty="0">
                <a:latin typeface="210 옴니고딕 030" panose="02020603020101020101" pitchFamily="18" charset="-127"/>
                <a:ea typeface="210 옴니고딕 030" panose="02020603020101020101" pitchFamily="18" charset="-127"/>
              </a:rPr>
              <a:t>김은우 책임 연구원 </a:t>
            </a:r>
            <a:r>
              <a:rPr lang="en-US" altLang="ko-KR" sz="1400" dirty="0">
                <a:latin typeface="210 옴니고딕 030" panose="02020603020101020101" pitchFamily="18" charset="-127"/>
                <a:ea typeface="210 옴니고딕 030" panose="02020603020101020101" pitchFamily="18" charset="-127"/>
              </a:rPr>
              <a:t>(2</a:t>
            </a:r>
            <a:r>
              <a:rPr lang="ko-KR" altLang="en-US" sz="1400" dirty="0">
                <a:latin typeface="210 옴니고딕 030" panose="02020603020101020101" pitchFamily="18" charset="-127"/>
                <a:ea typeface="210 옴니고딕 030" panose="02020603020101020101" pitchFamily="18" charset="-127"/>
              </a:rPr>
              <a:t>주</a:t>
            </a:r>
            <a:r>
              <a:rPr lang="en-US" altLang="ko-KR" sz="1400" dirty="0">
                <a:latin typeface="210 옴니고딕 030" panose="02020603020101020101" pitchFamily="18" charset="-127"/>
                <a:ea typeface="210 옴니고딕 030" panose="02020603020101020101" pitchFamily="18" charset="-127"/>
              </a:rPr>
              <a:t>)</a:t>
            </a:r>
            <a:endParaRPr lang="ko-KR" altLang="en-US" sz="1400" dirty="0">
              <a:latin typeface="210 옴니고딕 030" panose="02020603020101020101" pitchFamily="18" charset="-127"/>
              <a:ea typeface="210 옴니고딕 030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10023335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Box 19">
            <a:extLst>
              <a:ext uri="{FF2B5EF4-FFF2-40B4-BE49-F238E27FC236}">
                <a16:creationId xmlns:a16="http://schemas.microsoft.com/office/drawing/2014/main" id="{BB1F688A-EECA-AD4B-9974-52A755017E57}"/>
              </a:ext>
            </a:extLst>
          </p:cNvPr>
          <p:cNvSpPr txBox="1"/>
          <p:nvPr/>
        </p:nvSpPr>
        <p:spPr>
          <a:xfrm>
            <a:off x="377972" y="369097"/>
            <a:ext cx="1854995" cy="5894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en-US" altLang="ko-KR" sz="2400" b="1" dirty="0">
                <a:solidFill>
                  <a:srgbClr val="009D4F"/>
                </a:solidFill>
                <a:latin typeface="Noto Sans CJK KR Bold" panose="020B0500000000000000" pitchFamily="34" charset="-128"/>
                <a:ea typeface="Noto Sans CJK KR Bold" panose="020B0500000000000000" pitchFamily="34" charset="-128"/>
              </a:rPr>
              <a:t>3. </a:t>
            </a:r>
            <a:r>
              <a:rPr kumimoji="1" lang="ko-KR" altLang="en-US" sz="2400" b="1" dirty="0">
                <a:solidFill>
                  <a:srgbClr val="009D4F"/>
                </a:solidFill>
                <a:latin typeface="Noto Sans CJK KR Bold" panose="020B0500000000000000" pitchFamily="34" charset="-128"/>
                <a:ea typeface="Noto Sans CJK KR Bold" panose="020B0500000000000000" pitchFamily="34" charset="-128"/>
              </a:rPr>
              <a:t>진행 사항</a:t>
            </a:r>
            <a:endParaRPr kumimoji="1" lang="en-US" altLang="ko-KR" sz="2400" b="1" dirty="0">
              <a:solidFill>
                <a:srgbClr val="009D4F"/>
              </a:solidFill>
              <a:latin typeface="Noto Sans CJK KR Bold" panose="020B0500000000000000" pitchFamily="34" charset="-128"/>
              <a:ea typeface="Noto Sans CJK KR Bold" panose="020B0500000000000000" pitchFamily="34" charset="-128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6F1A837-3EF0-CC4C-9E70-66BA9C46692F}"/>
              </a:ext>
            </a:extLst>
          </p:cNvPr>
          <p:cNvSpPr txBox="1"/>
          <p:nvPr/>
        </p:nvSpPr>
        <p:spPr>
          <a:xfrm>
            <a:off x="649310" y="958554"/>
            <a:ext cx="10533384" cy="11310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14350" indent="-514350">
              <a:lnSpc>
                <a:spcPct val="200000"/>
              </a:lnSpc>
            </a:pPr>
            <a:r>
              <a:rPr kumimoji="1" lang="en-US" altLang="ko-KR" dirty="0">
                <a:solidFill>
                  <a:schemeClr val="tx1">
                    <a:lumMod val="85000"/>
                    <a:lumOff val="15000"/>
                  </a:schemeClr>
                </a:solidFill>
                <a:latin typeface="210 옴니고딕 030" panose="02020603020101020101" pitchFamily="18" charset="-127"/>
                <a:ea typeface="210 옴니고딕 030" panose="02020603020101020101" pitchFamily="18" charset="-127"/>
              </a:rPr>
              <a:t>SVN</a:t>
            </a:r>
            <a:r>
              <a:rPr kumimoji="1" lang="ko-KR" alt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210 옴니고딕 030" panose="02020603020101020101" pitchFamily="18" charset="-127"/>
                <a:ea typeface="210 옴니고딕 030" panose="02020603020101020101" pitchFamily="18" charset="-127"/>
              </a:rPr>
              <a:t>으로 </a:t>
            </a:r>
            <a:r>
              <a:rPr kumimoji="1" lang="ko-KR" altLang="en-US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210 옴니고딕 030" panose="02020603020101020101" pitchFamily="18" charset="-127"/>
                <a:ea typeface="210 옴니고딕 030" panose="02020603020101020101" pitchFamily="18" charset="-127"/>
              </a:rPr>
              <a:t>건솔루션</a:t>
            </a:r>
            <a:r>
              <a:rPr kumimoji="1" lang="ko-KR" alt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210 옴니고딕 030" panose="02020603020101020101" pitchFamily="18" charset="-127"/>
                <a:ea typeface="210 옴니고딕 030" panose="02020603020101020101" pitchFamily="18" charset="-127"/>
              </a:rPr>
              <a:t> </a:t>
            </a:r>
            <a:r>
              <a:rPr kumimoji="1" lang="en-US" altLang="ko-KR" dirty="0">
                <a:solidFill>
                  <a:schemeClr val="tx1">
                    <a:lumMod val="85000"/>
                    <a:lumOff val="15000"/>
                  </a:schemeClr>
                </a:solidFill>
                <a:latin typeface="210 옴니고딕 030" panose="02020603020101020101" pitchFamily="18" charset="-127"/>
                <a:ea typeface="210 옴니고딕 030" panose="02020603020101020101" pitchFamily="18" charset="-127"/>
              </a:rPr>
              <a:t>Unity Project Load </a:t>
            </a:r>
            <a:r>
              <a:rPr kumimoji="1" lang="ko-KR" alt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210 옴니고딕 030" panose="02020603020101020101" pitchFamily="18" charset="-127"/>
                <a:ea typeface="210 옴니고딕 030" panose="02020603020101020101" pitchFamily="18" charset="-127"/>
              </a:rPr>
              <a:t>완료 및 분석</a:t>
            </a:r>
            <a:endParaRPr kumimoji="1" lang="en-US" altLang="ko-KR" dirty="0">
              <a:solidFill>
                <a:schemeClr val="tx1">
                  <a:lumMod val="85000"/>
                  <a:lumOff val="15000"/>
                </a:schemeClr>
              </a:solidFill>
              <a:latin typeface="210 옴니고딕 030" panose="02020603020101020101" pitchFamily="18" charset="-127"/>
              <a:ea typeface="210 옴니고딕 030" panose="02020603020101020101" pitchFamily="18" charset="-127"/>
            </a:endParaRPr>
          </a:p>
          <a:p>
            <a:pPr marL="514350" indent="-514350">
              <a:lnSpc>
                <a:spcPct val="200000"/>
              </a:lnSpc>
            </a:pPr>
            <a:r>
              <a:rPr kumimoji="1" lang="ko-KR" alt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210 옴니고딕 030" panose="02020603020101020101" pitchFamily="18" charset="-127"/>
                <a:ea typeface="210 옴니고딕 030" panose="02020603020101020101" pitchFamily="18" charset="-127"/>
              </a:rPr>
              <a:t>향후 운영방식 논의</a:t>
            </a:r>
            <a:r>
              <a:rPr kumimoji="1" lang="en-US" altLang="ko-KR" dirty="0">
                <a:solidFill>
                  <a:schemeClr val="tx1">
                    <a:lumMod val="85000"/>
                    <a:lumOff val="15000"/>
                  </a:schemeClr>
                </a:solidFill>
                <a:latin typeface="210 옴니고딕 030" panose="02020603020101020101" pitchFamily="18" charset="-127"/>
                <a:ea typeface="210 옴니고딕 030" panose="02020603020101020101" pitchFamily="18" charset="-127"/>
              </a:rPr>
              <a:t> =&gt; Notion </a:t>
            </a:r>
            <a:r>
              <a:rPr kumimoji="1" lang="ko-KR" alt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210 옴니고딕 030" panose="02020603020101020101" pitchFamily="18" charset="-127"/>
                <a:ea typeface="210 옴니고딕 030" panose="02020603020101020101" pitchFamily="18" charset="-127"/>
              </a:rPr>
              <a:t>활용</a:t>
            </a:r>
            <a:endParaRPr kumimoji="1" lang="en-US" altLang="ko-KR" dirty="0">
              <a:solidFill>
                <a:schemeClr val="tx1">
                  <a:lumMod val="85000"/>
                  <a:lumOff val="15000"/>
                </a:schemeClr>
              </a:solidFill>
              <a:latin typeface="210 옴니고딕 030" panose="02020603020101020101" pitchFamily="18" charset="-127"/>
              <a:ea typeface="210 옴니고딕 030" panose="02020603020101020101" pitchFamily="18" charset="-127"/>
            </a:endParaRPr>
          </a:p>
        </p:txBody>
      </p:sp>
      <p:pic>
        <p:nvPicPr>
          <p:cNvPr id="1027" name="Picture 3" descr="C:\Users\cailab\Desktop\진행.PNG"/>
          <p:cNvPicPr>
            <a:picLocks noChangeAspect="1" noChangeArrowheads="1"/>
          </p:cNvPicPr>
          <p:nvPr/>
        </p:nvPicPr>
        <p:blipFill>
          <a:blip r:embed="rId2"/>
          <a:srcRect t="4630" r="18328" b="4815"/>
          <a:stretch>
            <a:fillRect/>
          </a:stretch>
        </p:blipFill>
        <p:spPr bwMode="auto">
          <a:xfrm>
            <a:off x="2082285" y="2405990"/>
            <a:ext cx="6857320" cy="3543236"/>
          </a:xfrm>
          <a:prstGeom prst="rect">
            <a:avLst/>
          </a:prstGeom>
          <a:noFill/>
        </p:spPr>
      </p:pic>
      <p:sp>
        <p:nvSpPr>
          <p:cNvPr id="2" name="직사각형 1">
            <a:extLst>
              <a:ext uri="{FF2B5EF4-FFF2-40B4-BE49-F238E27FC236}">
                <a16:creationId xmlns:a16="http://schemas.microsoft.com/office/drawing/2014/main" id="{6BCE4996-22E5-62D2-28AB-62C52F003662}"/>
              </a:ext>
            </a:extLst>
          </p:cNvPr>
          <p:cNvSpPr/>
          <p:nvPr/>
        </p:nvSpPr>
        <p:spPr>
          <a:xfrm>
            <a:off x="2829261" y="2405990"/>
            <a:ext cx="376518" cy="4340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6290496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Box 19">
            <a:extLst>
              <a:ext uri="{FF2B5EF4-FFF2-40B4-BE49-F238E27FC236}">
                <a16:creationId xmlns:a16="http://schemas.microsoft.com/office/drawing/2014/main" id="{BB1F688A-EECA-AD4B-9974-52A755017E57}"/>
              </a:ext>
            </a:extLst>
          </p:cNvPr>
          <p:cNvSpPr txBox="1"/>
          <p:nvPr/>
        </p:nvSpPr>
        <p:spPr>
          <a:xfrm>
            <a:off x="377972" y="369097"/>
            <a:ext cx="170431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en-US" altLang="ko-KR" sz="2400" b="1" dirty="0">
                <a:solidFill>
                  <a:srgbClr val="009D4F"/>
                </a:solidFill>
                <a:latin typeface="Noto Sans CJK KR Bold" panose="020B0500000000000000" pitchFamily="34" charset="-128"/>
                <a:ea typeface="Noto Sans CJK KR Bold" panose="020B0500000000000000" pitchFamily="34" charset="-128"/>
              </a:rPr>
              <a:t>3. </a:t>
            </a:r>
            <a:r>
              <a:rPr kumimoji="1" lang="ko-KR" altLang="en-US" sz="2400" b="1" dirty="0">
                <a:solidFill>
                  <a:srgbClr val="009D4F"/>
                </a:solidFill>
                <a:latin typeface="Noto Sans CJK KR Bold" panose="020B0500000000000000" pitchFamily="34" charset="-128"/>
                <a:ea typeface="Noto Sans CJK KR Bold" panose="020B0500000000000000" pitchFamily="34" charset="-128"/>
              </a:rPr>
              <a:t>진행사항</a:t>
            </a:r>
            <a:endParaRPr kumimoji="1" lang="en-US" altLang="ko-KR" sz="2400" b="1" dirty="0">
              <a:solidFill>
                <a:srgbClr val="009D4F"/>
              </a:solidFill>
              <a:latin typeface="Noto Sans CJK KR Bold" panose="020B0500000000000000" pitchFamily="34" charset="-128"/>
              <a:ea typeface="Noto Sans CJK KR Bold" panose="020B0500000000000000" pitchFamily="34" charset="-128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6F1A837-3EF0-CC4C-9E70-66BA9C46692F}"/>
              </a:ext>
            </a:extLst>
          </p:cNvPr>
          <p:cNvSpPr txBox="1"/>
          <p:nvPr/>
        </p:nvSpPr>
        <p:spPr>
          <a:xfrm>
            <a:off x="513439" y="1015428"/>
            <a:ext cx="10533384" cy="16850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14350" indent="-514350">
              <a:lnSpc>
                <a:spcPct val="200000"/>
              </a:lnSpc>
            </a:pPr>
            <a:r>
              <a:rPr kumimoji="1" lang="en-US" altLang="ko-KR" dirty="0">
                <a:solidFill>
                  <a:schemeClr val="tx1">
                    <a:lumMod val="85000"/>
                    <a:lumOff val="15000"/>
                  </a:schemeClr>
                </a:solidFill>
                <a:latin typeface="210 옴니고딕 030" panose="02020603020101020101" pitchFamily="18" charset="-127"/>
                <a:ea typeface="210 옴니고딕 030" panose="02020603020101020101" pitchFamily="18" charset="-127"/>
              </a:rPr>
              <a:t>-  </a:t>
            </a:r>
            <a:r>
              <a:rPr kumimoji="1" lang="ko-KR" altLang="en-US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210 옴니고딕 030" panose="02020603020101020101" pitchFamily="18" charset="-127"/>
                <a:ea typeface="210 옴니고딕 030" panose="02020603020101020101" pitchFamily="18" charset="-127"/>
              </a:rPr>
              <a:t>서승훈</a:t>
            </a:r>
            <a:r>
              <a:rPr kumimoji="1" lang="ko-KR" alt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210 옴니고딕 030" panose="02020603020101020101" pitchFamily="18" charset="-127"/>
                <a:ea typeface="210 옴니고딕 030" panose="02020603020101020101" pitchFamily="18" charset="-127"/>
              </a:rPr>
              <a:t> </a:t>
            </a:r>
            <a:r>
              <a:rPr kumimoji="1" lang="en-US" altLang="ko-KR" dirty="0">
                <a:solidFill>
                  <a:schemeClr val="tx1">
                    <a:lumMod val="85000"/>
                    <a:lumOff val="15000"/>
                  </a:schemeClr>
                </a:solidFill>
                <a:latin typeface="210 옴니고딕 030" panose="02020603020101020101" pitchFamily="18" charset="-127"/>
                <a:ea typeface="210 옴니고딕 030" panose="02020603020101020101" pitchFamily="18" charset="-127"/>
              </a:rPr>
              <a:t>: Factory Scene(3D) </a:t>
            </a:r>
            <a:r>
              <a:rPr kumimoji="1" lang="ko-KR" alt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210 옴니고딕 030" panose="02020603020101020101" pitchFamily="18" charset="-127"/>
                <a:ea typeface="210 옴니고딕 030" panose="02020603020101020101" pitchFamily="18" charset="-127"/>
              </a:rPr>
              <a:t>분석</a:t>
            </a:r>
            <a:r>
              <a:rPr kumimoji="1" lang="en-US" altLang="ko-KR" dirty="0">
                <a:solidFill>
                  <a:schemeClr val="tx1">
                    <a:lumMod val="85000"/>
                    <a:lumOff val="15000"/>
                  </a:schemeClr>
                </a:solidFill>
                <a:latin typeface="210 옴니고딕 030" panose="02020603020101020101" pitchFamily="18" charset="-127"/>
                <a:ea typeface="210 옴니고딕 030" panose="02020603020101020101" pitchFamily="18" charset="-127"/>
              </a:rPr>
              <a:t> </a:t>
            </a:r>
          </a:p>
          <a:p>
            <a:pPr marL="514350" indent="-514350">
              <a:lnSpc>
                <a:spcPct val="200000"/>
              </a:lnSpc>
            </a:pPr>
            <a:r>
              <a:rPr kumimoji="1" lang="en-US" altLang="ko-KR" dirty="0">
                <a:solidFill>
                  <a:schemeClr val="tx1">
                    <a:lumMod val="85000"/>
                    <a:lumOff val="15000"/>
                  </a:schemeClr>
                </a:solidFill>
                <a:latin typeface="210 옴니고딕 030" panose="02020603020101020101" pitchFamily="18" charset="-127"/>
                <a:ea typeface="210 옴니고딕 030" panose="02020603020101020101" pitchFamily="18" charset="-127"/>
              </a:rPr>
              <a:t>-  </a:t>
            </a:r>
            <a:r>
              <a:rPr kumimoji="1" lang="ko-KR" alt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210 옴니고딕 030" panose="02020603020101020101" pitchFamily="18" charset="-127"/>
                <a:ea typeface="210 옴니고딕 030" panose="02020603020101020101" pitchFamily="18" charset="-127"/>
              </a:rPr>
              <a:t>이지화 </a:t>
            </a:r>
            <a:r>
              <a:rPr kumimoji="1" lang="en-US" altLang="ko-KR" dirty="0">
                <a:solidFill>
                  <a:schemeClr val="tx1">
                    <a:lumMod val="85000"/>
                    <a:lumOff val="15000"/>
                  </a:schemeClr>
                </a:solidFill>
                <a:latin typeface="210 옴니고딕 030" panose="02020603020101020101" pitchFamily="18" charset="-127"/>
                <a:ea typeface="210 옴니고딕 030" panose="02020603020101020101" pitchFamily="18" charset="-127"/>
              </a:rPr>
              <a:t>: </a:t>
            </a:r>
            <a:r>
              <a:rPr kumimoji="1" lang="ko-KR" alt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210 옴니고딕 030" panose="02020603020101020101" pitchFamily="18" charset="-127"/>
                <a:ea typeface="210 옴니고딕 030" panose="02020603020101020101" pitchFamily="18" charset="-127"/>
              </a:rPr>
              <a:t>오류 발견 분석</a:t>
            </a:r>
            <a:endParaRPr kumimoji="1" lang="en-US" altLang="ko-KR" dirty="0">
              <a:solidFill>
                <a:schemeClr val="tx1">
                  <a:lumMod val="85000"/>
                  <a:lumOff val="15000"/>
                </a:schemeClr>
              </a:solidFill>
              <a:latin typeface="210 옴니고딕 030" panose="02020603020101020101" pitchFamily="18" charset="-127"/>
              <a:ea typeface="210 옴니고딕 030" panose="02020603020101020101" pitchFamily="18" charset="-127"/>
            </a:endParaRPr>
          </a:p>
          <a:p>
            <a:pPr marL="514350" indent="-514350">
              <a:lnSpc>
                <a:spcPct val="200000"/>
              </a:lnSpc>
            </a:pPr>
            <a:r>
              <a:rPr kumimoji="1" lang="en-US" altLang="ko-KR" dirty="0">
                <a:solidFill>
                  <a:schemeClr val="tx1">
                    <a:lumMod val="85000"/>
                    <a:lumOff val="15000"/>
                  </a:schemeClr>
                </a:solidFill>
                <a:latin typeface="210 옴니고딕 030" panose="02020603020101020101" pitchFamily="18" charset="-127"/>
                <a:ea typeface="210 옴니고딕 030" panose="02020603020101020101" pitchFamily="18" charset="-127"/>
              </a:rPr>
              <a:t>-  </a:t>
            </a:r>
            <a:r>
              <a:rPr kumimoji="1" lang="ko-KR" alt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210 옴니고딕 030" panose="02020603020101020101" pitchFamily="18" charset="-127"/>
                <a:ea typeface="210 옴니고딕 030" panose="02020603020101020101" pitchFamily="18" charset="-127"/>
              </a:rPr>
              <a:t>이재성 </a:t>
            </a:r>
            <a:r>
              <a:rPr kumimoji="1" lang="en-US" altLang="ko-KR" dirty="0">
                <a:solidFill>
                  <a:schemeClr val="tx1">
                    <a:lumMod val="85000"/>
                    <a:lumOff val="15000"/>
                  </a:schemeClr>
                </a:solidFill>
                <a:latin typeface="210 옴니고딕 030" panose="02020603020101020101" pitchFamily="18" charset="-127"/>
                <a:ea typeface="210 옴니고딕 030" panose="02020603020101020101" pitchFamily="18" charset="-127"/>
              </a:rPr>
              <a:t>: Login &amp; UI Scene(2D) </a:t>
            </a:r>
            <a:r>
              <a:rPr kumimoji="1" lang="ko-KR" alt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210 옴니고딕 030" panose="02020603020101020101" pitchFamily="18" charset="-127"/>
                <a:ea typeface="210 옴니고딕 030" panose="02020603020101020101" pitchFamily="18" charset="-127"/>
              </a:rPr>
              <a:t>분석</a:t>
            </a:r>
            <a:endParaRPr kumimoji="1" lang="en-US" altLang="ko-KR" dirty="0">
              <a:solidFill>
                <a:schemeClr val="tx1">
                  <a:lumMod val="85000"/>
                  <a:lumOff val="15000"/>
                </a:schemeClr>
              </a:solidFill>
              <a:latin typeface="210 옴니고딕 030" panose="02020603020101020101" pitchFamily="18" charset="-127"/>
              <a:ea typeface="210 옴니고딕 030" panose="02020603020101020101" pitchFamily="18" charset="-127"/>
            </a:endParaRPr>
          </a:p>
        </p:txBody>
      </p:sp>
      <p:pic>
        <p:nvPicPr>
          <p:cNvPr id="1026" name="Picture 2" descr="C:\Users\cailab\Desktop\Unity ㅁㄴㅇㄹ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13439" y="3260883"/>
            <a:ext cx="4850139" cy="2581689"/>
          </a:xfrm>
          <a:prstGeom prst="rect">
            <a:avLst/>
          </a:prstGeom>
          <a:noFill/>
        </p:spPr>
      </p:pic>
      <p:sp>
        <p:nvSpPr>
          <p:cNvPr id="6" name="내용 개체 틀 11">
            <a:extLst>
              <a:ext uri="{FF2B5EF4-FFF2-40B4-BE49-F238E27FC236}">
                <a16:creationId xmlns:a16="http://schemas.microsoft.com/office/drawing/2014/main" id="{CD68291F-3EEF-1BB7-62A2-F0DE4178933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68225" y="3247436"/>
            <a:ext cx="2635508" cy="2719653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 latinLnBrk="1">
              <a:lnSpc>
                <a:spcPct val="107000"/>
              </a:lnSpc>
              <a:spcAft>
                <a:spcPts val="800"/>
              </a:spcAft>
              <a:buNone/>
            </a:pPr>
            <a:r>
              <a:rPr lang="en-US" sz="1600" kern="100" dirty="0">
                <a:effectLst/>
                <a:latin typeface="210 옴니고딕 030" panose="02020603020101020101" pitchFamily="18" charset="-127"/>
                <a:ea typeface="210 옴니고딕 030" panose="02020603020101020101" pitchFamily="18" charset="-127"/>
                <a:cs typeface="Times New Roman" panose="02020603050405020304" pitchFamily="18" charset="0"/>
              </a:rPr>
              <a:t>UI (2D)</a:t>
            </a:r>
            <a:endParaRPr lang="ko-KR" sz="1600" kern="100" dirty="0">
              <a:effectLst/>
              <a:latin typeface="210 옴니고딕 030" panose="02020603020101020101" pitchFamily="18" charset="-127"/>
              <a:ea typeface="210 옴니고딕 030" panose="02020603020101020101" pitchFamily="18" charset="-127"/>
              <a:cs typeface="Times New Roman" panose="02020603050405020304" pitchFamily="18" charset="0"/>
            </a:endParaRPr>
          </a:p>
          <a:p>
            <a:pPr marL="342900" lvl="0" indent="-342900" latinLnBrk="1">
              <a:lnSpc>
                <a:spcPct val="107000"/>
              </a:lnSpc>
              <a:spcAft>
                <a:spcPts val="800"/>
              </a:spcAft>
              <a:buFont typeface="맑은 고딕" panose="020B0503020000020004" pitchFamily="50" charset="-127"/>
              <a:buChar char="-"/>
            </a:pPr>
            <a:r>
              <a:rPr lang="en-US" sz="1100" kern="100" dirty="0">
                <a:effectLst/>
                <a:latin typeface="210 옴니고딕 030" panose="02020603020101020101" pitchFamily="18" charset="-127"/>
                <a:ea typeface="210 옴니고딕 030" panose="02020603020101020101" pitchFamily="18" charset="-127"/>
                <a:cs typeface="Times New Roman" panose="02020603050405020304" pitchFamily="18" charset="0"/>
              </a:rPr>
              <a:t>Top</a:t>
            </a:r>
            <a:endParaRPr lang="ko-KR" sz="1600" kern="100" dirty="0">
              <a:effectLst/>
              <a:latin typeface="210 옴니고딕 030" panose="02020603020101020101" pitchFamily="18" charset="-127"/>
              <a:ea typeface="210 옴니고딕 030" panose="02020603020101020101" pitchFamily="18" charset="-127"/>
              <a:cs typeface="Times New Roman" panose="02020603050405020304" pitchFamily="18" charset="0"/>
            </a:endParaRPr>
          </a:p>
          <a:p>
            <a:pPr marL="342900" lvl="0" indent="-342900" latinLnBrk="1">
              <a:lnSpc>
                <a:spcPct val="107000"/>
              </a:lnSpc>
              <a:spcAft>
                <a:spcPts val="800"/>
              </a:spcAft>
              <a:buFont typeface="맑은 고딕" panose="020B0503020000020004" pitchFamily="50" charset="-127"/>
              <a:buChar char="-"/>
            </a:pPr>
            <a:r>
              <a:rPr lang="en-US" sz="1100" kern="100" dirty="0">
                <a:effectLst/>
                <a:latin typeface="210 옴니고딕 030" panose="02020603020101020101" pitchFamily="18" charset="-127"/>
                <a:ea typeface="210 옴니고딕 030" panose="02020603020101020101" pitchFamily="18" charset="-127"/>
                <a:cs typeface="Times New Roman" panose="02020603050405020304" pitchFamily="18" charset="0"/>
              </a:rPr>
              <a:t>Panel</a:t>
            </a:r>
            <a:endParaRPr lang="ko-KR" sz="1600" kern="100" dirty="0">
              <a:effectLst/>
              <a:latin typeface="210 옴니고딕 030" panose="02020603020101020101" pitchFamily="18" charset="-127"/>
              <a:ea typeface="210 옴니고딕 030" panose="02020603020101020101" pitchFamily="18" charset="-127"/>
              <a:cs typeface="Times New Roman" panose="02020603050405020304" pitchFamily="18" charset="0"/>
            </a:endParaRPr>
          </a:p>
          <a:p>
            <a:pPr marL="342900" lvl="0" indent="-342900" latinLnBrk="1">
              <a:lnSpc>
                <a:spcPct val="107000"/>
              </a:lnSpc>
              <a:spcAft>
                <a:spcPts val="800"/>
              </a:spcAft>
              <a:buFont typeface="맑은 고딕" panose="020B0503020000020004" pitchFamily="50" charset="-127"/>
              <a:buChar char="-"/>
            </a:pPr>
            <a:r>
              <a:rPr lang="en-US" sz="1100" kern="100" dirty="0" err="1">
                <a:effectLst/>
                <a:latin typeface="210 옴니고딕 030" panose="02020603020101020101" pitchFamily="18" charset="-127"/>
                <a:ea typeface="210 옴니고딕 030" panose="02020603020101020101" pitchFamily="18" charset="-127"/>
                <a:cs typeface="Times New Roman" panose="02020603050405020304" pitchFamily="18" charset="0"/>
              </a:rPr>
              <a:t>UI_Camera</a:t>
            </a:r>
            <a:endParaRPr lang="ko-KR" sz="1600" kern="100" dirty="0">
              <a:effectLst/>
              <a:latin typeface="210 옴니고딕 030" panose="02020603020101020101" pitchFamily="18" charset="-127"/>
              <a:ea typeface="210 옴니고딕 030" panose="02020603020101020101" pitchFamily="18" charset="-127"/>
              <a:cs typeface="Times New Roman" panose="02020603050405020304" pitchFamily="18" charset="0"/>
            </a:endParaRPr>
          </a:p>
        </p:txBody>
      </p:sp>
      <p:sp>
        <p:nvSpPr>
          <p:cNvPr id="7" name="내용 개체 틀 11">
            <a:extLst>
              <a:ext uri="{FF2B5EF4-FFF2-40B4-BE49-F238E27FC236}">
                <a16:creationId xmlns:a16="http://schemas.microsoft.com/office/drawing/2014/main" id="{96D73174-67BB-B4BB-C4F2-B954A8203E55}"/>
              </a:ext>
            </a:extLst>
          </p:cNvPr>
          <p:cNvSpPr txBox="1">
            <a:spLocks/>
          </p:cNvSpPr>
          <p:nvPr/>
        </p:nvSpPr>
        <p:spPr>
          <a:xfrm>
            <a:off x="9175492" y="3247436"/>
            <a:ext cx="2635508" cy="2719653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228600" indent="-22860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latinLnBrk="1">
              <a:lnSpc>
                <a:spcPct val="107000"/>
              </a:lnSpc>
              <a:spcAft>
                <a:spcPts val="800"/>
              </a:spcAft>
              <a:buNone/>
            </a:pPr>
            <a:r>
              <a:rPr lang="en-US" altLang="ko-KR" sz="1600" kern="100" dirty="0">
                <a:effectLst/>
                <a:latin typeface="210 옴니고딕 030" panose="02020603020101020101" pitchFamily="18" charset="-127"/>
                <a:ea typeface="210 옴니고딕 030" panose="02020603020101020101" pitchFamily="18" charset="-127"/>
                <a:cs typeface="Times New Roman" panose="02020603050405020304" pitchFamily="18" charset="0"/>
              </a:rPr>
              <a:t>Factory (3D)</a:t>
            </a:r>
            <a:endParaRPr lang="ko-KR" altLang="ko-KR" sz="1600" kern="100" dirty="0">
              <a:effectLst/>
              <a:latin typeface="210 옴니고딕 030" panose="02020603020101020101" pitchFamily="18" charset="-127"/>
              <a:ea typeface="210 옴니고딕 030" panose="02020603020101020101" pitchFamily="18" charset="-127"/>
              <a:cs typeface="Times New Roman" panose="02020603050405020304" pitchFamily="18" charset="0"/>
            </a:endParaRPr>
          </a:p>
          <a:p>
            <a:pPr marL="508000" algn="l" latinLnBrk="1">
              <a:lnSpc>
                <a:spcPct val="107000"/>
              </a:lnSpc>
              <a:spcAft>
                <a:spcPts val="800"/>
              </a:spcAft>
            </a:pPr>
            <a:r>
              <a:rPr lang="en-US" altLang="ko-KR" sz="1050" kern="100" dirty="0">
                <a:effectLst/>
                <a:latin typeface="210 옴니고딕 030" panose="02020603020101020101" pitchFamily="18" charset="-127"/>
                <a:ea typeface="210 옴니고딕 030" panose="02020603020101020101" pitchFamily="18" charset="-127"/>
                <a:cs typeface="Times New Roman" panose="02020603050405020304" pitchFamily="18" charset="0"/>
              </a:rPr>
              <a:t>- Coating</a:t>
            </a:r>
            <a:endParaRPr lang="ko-KR" altLang="ko-KR" sz="1600" kern="100" dirty="0">
              <a:effectLst/>
              <a:latin typeface="210 옴니고딕 030" panose="02020603020101020101" pitchFamily="18" charset="-127"/>
              <a:ea typeface="210 옴니고딕 030" panose="02020603020101020101" pitchFamily="18" charset="-127"/>
              <a:cs typeface="Times New Roman" panose="02020603050405020304" pitchFamily="18" charset="0"/>
            </a:endParaRPr>
          </a:p>
          <a:p>
            <a:pPr marL="508000" algn="l" latinLnBrk="1">
              <a:lnSpc>
                <a:spcPct val="107000"/>
              </a:lnSpc>
              <a:spcAft>
                <a:spcPts val="800"/>
              </a:spcAft>
            </a:pPr>
            <a:r>
              <a:rPr lang="en-US" altLang="ko-KR" sz="1050" kern="100" dirty="0">
                <a:effectLst/>
                <a:latin typeface="210 옴니고딕 030" panose="02020603020101020101" pitchFamily="18" charset="-127"/>
                <a:ea typeface="210 옴니고딕 030" panose="02020603020101020101" pitchFamily="18" charset="-127"/>
                <a:cs typeface="Times New Roman" panose="02020603050405020304" pitchFamily="18" charset="0"/>
              </a:rPr>
              <a:t>- </a:t>
            </a:r>
            <a:r>
              <a:rPr lang="en-US" altLang="ko-KR" sz="1050" kern="100" dirty="0" err="1">
                <a:effectLst/>
                <a:latin typeface="210 옴니고딕 030" panose="02020603020101020101" pitchFamily="18" charset="-127"/>
                <a:ea typeface="210 옴니고딕 030" panose="02020603020101020101" pitchFamily="18" charset="-127"/>
                <a:cs typeface="Times New Roman" panose="02020603050405020304" pitchFamily="18" charset="0"/>
              </a:rPr>
              <a:t>Gagong</a:t>
            </a:r>
            <a:endParaRPr lang="ko-KR" altLang="ko-KR" sz="1600" kern="100" dirty="0">
              <a:effectLst/>
              <a:latin typeface="210 옴니고딕 030" panose="02020603020101020101" pitchFamily="18" charset="-127"/>
              <a:ea typeface="210 옴니고딕 030" panose="02020603020101020101" pitchFamily="18" charset="-127"/>
              <a:cs typeface="Times New Roman" panose="02020603050405020304" pitchFamily="18" charset="0"/>
            </a:endParaRPr>
          </a:p>
          <a:p>
            <a:pPr marL="508000" algn="l" latinLnBrk="1">
              <a:lnSpc>
                <a:spcPct val="107000"/>
              </a:lnSpc>
              <a:spcAft>
                <a:spcPts val="800"/>
              </a:spcAft>
            </a:pPr>
            <a:r>
              <a:rPr lang="en-US" altLang="ko-KR" sz="1050" kern="100" dirty="0">
                <a:effectLst/>
                <a:latin typeface="210 옴니고딕 030" panose="02020603020101020101" pitchFamily="18" charset="-127"/>
                <a:ea typeface="210 옴니고딕 030" panose="02020603020101020101" pitchFamily="18" charset="-127"/>
                <a:cs typeface="Times New Roman" panose="02020603050405020304" pitchFamily="18" charset="0"/>
              </a:rPr>
              <a:t>- </a:t>
            </a:r>
            <a:r>
              <a:rPr lang="en-US" altLang="ko-KR" sz="1050" kern="100" dirty="0" err="1">
                <a:effectLst/>
                <a:latin typeface="210 옴니고딕 030" panose="02020603020101020101" pitchFamily="18" charset="-127"/>
                <a:ea typeface="210 옴니고딕 030" panose="02020603020101020101" pitchFamily="18" charset="-127"/>
                <a:cs typeface="Times New Roman" panose="02020603050405020304" pitchFamily="18" charset="0"/>
              </a:rPr>
              <a:t>Yeonma</a:t>
            </a:r>
            <a:endParaRPr lang="ko-KR" altLang="ko-KR" sz="1600" kern="100" dirty="0">
              <a:effectLst/>
              <a:latin typeface="210 옴니고딕 030" panose="02020603020101020101" pitchFamily="18" charset="-127"/>
              <a:ea typeface="210 옴니고딕 030" panose="02020603020101020101" pitchFamily="18" charset="-127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290496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Box 19">
            <a:extLst>
              <a:ext uri="{FF2B5EF4-FFF2-40B4-BE49-F238E27FC236}">
                <a16:creationId xmlns:a16="http://schemas.microsoft.com/office/drawing/2014/main" id="{BB1F688A-EECA-AD4B-9974-52A755017E57}"/>
              </a:ext>
            </a:extLst>
          </p:cNvPr>
          <p:cNvSpPr txBox="1"/>
          <p:nvPr/>
        </p:nvSpPr>
        <p:spPr>
          <a:xfrm>
            <a:off x="377972" y="369097"/>
            <a:ext cx="1854995" cy="5894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en-US" altLang="ko-KR" sz="2400" b="1" dirty="0">
                <a:solidFill>
                  <a:srgbClr val="009D4F"/>
                </a:solidFill>
                <a:latin typeface="Noto Sans CJK KR Bold" panose="020B0500000000000000" pitchFamily="34" charset="-128"/>
                <a:ea typeface="Noto Sans CJK KR Bold" panose="020B0500000000000000" pitchFamily="34" charset="-128"/>
              </a:rPr>
              <a:t>4. </a:t>
            </a:r>
            <a:r>
              <a:rPr kumimoji="1" lang="ko-KR" altLang="en-US" sz="2400" b="1" dirty="0">
                <a:solidFill>
                  <a:srgbClr val="009D4F"/>
                </a:solidFill>
                <a:latin typeface="Noto Sans CJK KR Bold" panose="020B0500000000000000" pitchFamily="34" charset="-128"/>
                <a:ea typeface="Noto Sans CJK KR Bold" panose="020B0500000000000000" pitchFamily="34" charset="-128"/>
              </a:rPr>
              <a:t>향후 계획</a:t>
            </a:r>
            <a:endParaRPr kumimoji="1" lang="en-US" altLang="ko-KR" sz="2400" b="1" dirty="0">
              <a:solidFill>
                <a:srgbClr val="009D4F"/>
              </a:solidFill>
              <a:latin typeface="Noto Sans CJK KR Bold" panose="020B0500000000000000" pitchFamily="34" charset="-128"/>
              <a:ea typeface="Noto Sans CJK KR Bold" panose="020B0500000000000000" pitchFamily="34" charset="-128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3EB1A3D-2008-3C19-17CB-DCB0901D070E}"/>
              </a:ext>
            </a:extLst>
          </p:cNvPr>
          <p:cNvSpPr txBox="1"/>
          <p:nvPr/>
        </p:nvSpPr>
        <p:spPr>
          <a:xfrm>
            <a:off x="4337096" y="4683793"/>
            <a:ext cx="3563826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ko-KR" altLang="en-US" sz="2500" dirty="0">
                <a:solidFill>
                  <a:schemeClr val="tx1">
                    <a:lumMod val="85000"/>
                    <a:lumOff val="15000"/>
                  </a:schemeClr>
                </a:solidFill>
                <a:latin typeface="210 옴니고딕 030" panose="02020603020101020101" pitchFamily="18" charset="-127"/>
                <a:ea typeface="210 옴니고딕 030" panose="02020603020101020101" pitchFamily="18" charset="-127"/>
              </a:rPr>
              <a:t>서로 분석한 내용 공유</a:t>
            </a:r>
            <a:endParaRPr kumimoji="1" lang="en-US" altLang="ko-KR" sz="2500" dirty="0">
              <a:solidFill>
                <a:schemeClr val="tx1">
                  <a:lumMod val="85000"/>
                  <a:lumOff val="15000"/>
                </a:schemeClr>
              </a:solidFill>
              <a:latin typeface="210 옴니고딕 030" panose="02020603020101020101" pitchFamily="18" charset="-127"/>
              <a:ea typeface="210 옴니고딕 030" panose="02020603020101020101" pitchFamily="18" charset="-127"/>
            </a:endParaRPr>
          </a:p>
          <a:p>
            <a:pPr algn="ctr"/>
            <a:r>
              <a:rPr kumimoji="1" lang="en-US" altLang="ko-KR" sz="2500" dirty="0">
                <a:solidFill>
                  <a:schemeClr val="tx1">
                    <a:lumMod val="85000"/>
                    <a:lumOff val="15000"/>
                  </a:schemeClr>
                </a:solidFill>
                <a:latin typeface="210 옴니고딕 030" panose="02020603020101020101" pitchFamily="18" charset="-127"/>
                <a:ea typeface="210 옴니고딕 030" panose="02020603020101020101" pitchFamily="18" charset="-127"/>
              </a:rPr>
              <a:t>(Notion)</a:t>
            </a:r>
          </a:p>
        </p:txBody>
      </p:sp>
      <p:sp>
        <p:nvSpPr>
          <p:cNvPr id="3" name="화살표: 오른쪽 2">
            <a:extLst>
              <a:ext uri="{FF2B5EF4-FFF2-40B4-BE49-F238E27FC236}">
                <a16:creationId xmlns:a16="http://schemas.microsoft.com/office/drawing/2014/main" id="{F5811D3C-B62C-B1E3-30CC-8C1C25572C22}"/>
              </a:ext>
            </a:extLst>
          </p:cNvPr>
          <p:cNvSpPr/>
          <p:nvPr/>
        </p:nvSpPr>
        <p:spPr>
          <a:xfrm rot="5400000">
            <a:off x="5795843" y="3749294"/>
            <a:ext cx="646332" cy="708659"/>
          </a:xfrm>
          <a:prstGeom prst="rightArrow">
            <a:avLst/>
          </a:prstGeom>
          <a:solidFill>
            <a:srgbClr val="009D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7" name="그룹 6">
            <a:extLst>
              <a:ext uri="{FF2B5EF4-FFF2-40B4-BE49-F238E27FC236}">
                <a16:creationId xmlns:a16="http://schemas.microsoft.com/office/drawing/2014/main" id="{F4CBCD89-DF00-8035-034B-3200F1A98C57}"/>
              </a:ext>
            </a:extLst>
          </p:cNvPr>
          <p:cNvGrpSpPr/>
          <p:nvPr/>
        </p:nvGrpSpPr>
        <p:grpSpPr>
          <a:xfrm>
            <a:off x="500797" y="1738860"/>
            <a:ext cx="2952410" cy="1447857"/>
            <a:chOff x="575399" y="1665288"/>
            <a:chExt cx="5266396" cy="1447857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294FDB30-BE9E-21D1-B34F-93EBFE84466C}"/>
                </a:ext>
              </a:extLst>
            </p:cNvPr>
            <p:cNvSpPr txBox="1"/>
            <p:nvPr/>
          </p:nvSpPr>
          <p:spPr>
            <a:xfrm>
              <a:off x="2516337" y="1665288"/>
              <a:ext cx="1384511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kumimoji="1" lang="ko-KR" altLang="en-US" sz="1600" b="1" dirty="0" err="1">
                  <a:solidFill>
                    <a:srgbClr val="009D4F"/>
                  </a:solidFill>
                  <a:latin typeface="210 옴니고딕 030" panose="02020603020101020101" pitchFamily="18" charset="-127"/>
                  <a:ea typeface="210 옴니고딕 030" panose="02020603020101020101" pitchFamily="18" charset="-127"/>
                </a:rPr>
                <a:t>서승훈</a:t>
              </a:r>
              <a:endParaRPr kumimoji="1" lang="en-US" altLang="ko-KR" sz="1600" b="1" dirty="0">
                <a:solidFill>
                  <a:srgbClr val="009D4F"/>
                </a:solidFill>
                <a:latin typeface="210 옴니고딕 030" panose="02020603020101020101" pitchFamily="18" charset="-127"/>
                <a:ea typeface="210 옴니고딕 030" panose="02020603020101020101" pitchFamily="18" charset="-127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57D75766-AC4D-0E31-7172-FC62B4AD67BF}"/>
                </a:ext>
              </a:extLst>
            </p:cNvPr>
            <p:cNvSpPr txBox="1"/>
            <p:nvPr/>
          </p:nvSpPr>
          <p:spPr>
            <a:xfrm>
              <a:off x="575399" y="2078246"/>
              <a:ext cx="5266395" cy="10348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198438" algn="ctr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kumimoji="1" lang="en-US" altLang="ko-KR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210 옴니고딕 030" panose="02020603020101020101" pitchFamily="18" charset="-127"/>
                  <a:ea typeface="210 옴니고딕 030" panose="02020603020101020101" pitchFamily="18" charset="-127"/>
                </a:rPr>
                <a:t>Factory Scene(3D )</a:t>
              </a:r>
            </a:p>
            <a:p>
              <a:pPr marL="285750" indent="-198438" algn="ctr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kumimoji="1" lang="ko-KR" altLang="en-US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210 옴니고딕 030" panose="02020603020101020101" pitchFamily="18" charset="-127"/>
                  <a:ea typeface="210 옴니고딕 030" panose="02020603020101020101" pitchFamily="18" charset="-127"/>
                </a:rPr>
                <a:t>분석 결과 종합</a:t>
              </a:r>
              <a:endParaRPr kumimoji="1" lang="en-US" altLang="ko-KR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210 옴니고딕 030" panose="02020603020101020101" pitchFamily="18" charset="-127"/>
                <a:ea typeface="210 옴니고딕 030" panose="02020603020101020101" pitchFamily="18" charset="-127"/>
              </a:endParaRPr>
            </a:p>
            <a:p>
              <a:pPr marL="87312">
                <a:lnSpc>
                  <a:spcPct val="150000"/>
                </a:lnSpc>
              </a:pPr>
              <a:endParaRPr kumimoji="1" lang="ko-Kore-KR" altLang="en-US" sz="1400" dirty="0">
                <a:highlight>
                  <a:srgbClr val="FFFF00"/>
                </a:highlight>
                <a:latin typeface="210 옴니고딕 030" panose="02020603020101020101" pitchFamily="18" charset="-127"/>
                <a:ea typeface="210 옴니고딕 030" panose="02020603020101020101" pitchFamily="18" charset="-127"/>
              </a:endParaRPr>
            </a:p>
          </p:txBody>
        </p:sp>
        <p:cxnSp>
          <p:nvCxnSpPr>
            <p:cNvPr id="11" name="직선 연결선[R] 15">
              <a:extLst>
                <a:ext uri="{FF2B5EF4-FFF2-40B4-BE49-F238E27FC236}">
                  <a16:creationId xmlns:a16="http://schemas.microsoft.com/office/drawing/2014/main" id="{3D7CDF95-DA8F-273E-6171-A515574BF4AB}"/>
                </a:ext>
              </a:extLst>
            </p:cNvPr>
            <p:cNvCxnSpPr>
              <a:cxnSpLocks/>
            </p:cNvCxnSpPr>
            <p:nvPr/>
          </p:nvCxnSpPr>
          <p:spPr>
            <a:xfrm>
              <a:off x="658813" y="2003842"/>
              <a:ext cx="5182982" cy="0"/>
            </a:xfrm>
            <a:prstGeom prst="line">
              <a:avLst/>
            </a:prstGeom>
            <a:ln w="19050">
              <a:solidFill>
                <a:srgbClr val="009D4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그룹 11">
            <a:extLst>
              <a:ext uri="{FF2B5EF4-FFF2-40B4-BE49-F238E27FC236}">
                <a16:creationId xmlns:a16="http://schemas.microsoft.com/office/drawing/2014/main" id="{C860A0B5-B8FD-80C0-F916-BE5E68BCC5A3}"/>
              </a:ext>
            </a:extLst>
          </p:cNvPr>
          <p:cNvGrpSpPr/>
          <p:nvPr/>
        </p:nvGrpSpPr>
        <p:grpSpPr>
          <a:xfrm>
            <a:off x="4643176" y="1649069"/>
            <a:ext cx="2905647" cy="1199675"/>
            <a:chOff x="575399" y="1590304"/>
            <a:chExt cx="5266396" cy="1199675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95C1446C-52A6-BA75-4EDB-064F463D9490}"/>
                </a:ext>
              </a:extLst>
            </p:cNvPr>
            <p:cNvSpPr txBox="1"/>
            <p:nvPr/>
          </p:nvSpPr>
          <p:spPr>
            <a:xfrm>
              <a:off x="2505199" y="1590304"/>
              <a:ext cx="1406793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kumimoji="1" lang="ko-KR" altLang="en-US" sz="1600" b="1" dirty="0">
                  <a:solidFill>
                    <a:srgbClr val="009D4F"/>
                  </a:solidFill>
                  <a:latin typeface="210 옴니고딕 030" panose="02020603020101020101" pitchFamily="18" charset="-127"/>
                  <a:ea typeface="210 옴니고딕 030" panose="02020603020101020101" pitchFamily="18" charset="-127"/>
                </a:rPr>
                <a:t>이지화</a:t>
              </a:r>
              <a:endParaRPr kumimoji="1" lang="en-US" altLang="ko-KR" sz="1600" b="1" dirty="0">
                <a:solidFill>
                  <a:srgbClr val="009D4F"/>
                </a:solidFill>
                <a:latin typeface="210 옴니고딕 030" panose="02020603020101020101" pitchFamily="18" charset="-127"/>
                <a:ea typeface="210 옴니고딕 030" panose="02020603020101020101" pitchFamily="18" charset="-127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A258D470-DEF6-445D-7C0D-AC14CDBB1014}"/>
                </a:ext>
              </a:extLst>
            </p:cNvPr>
            <p:cNvSpPr txBox="1"/>
            <p:nvPr/>
          </p:nvSpPr>
          <p:spPr>
            <a:xfrm>
              <a:off x="575399" y="2078246"/>
              <a:ext cx="5266395" cy="7117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198438" algn="ctr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kumimoji="1" lang="ko-KR" altLang="en-US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210 옴니고딕 030" panose="02020603020101020101" pitchFamily="18" charset="-127"/>
                  <a:ea typeface="210 옴니고딕 030" panose="02020603020101020101" pitchFamily="18" charset="-127"/>
                </a:rPr>
                <a:t>오류 발견 분석</a:t>
              </a:r>
            </a:p>
            <a:p>
              <a:pPr marL="87312" algn="ctr">
                <a:lnSpc>
                  <a:spcPct val="150000"/>
                </a:lnSpc>
              </a:pPr>
              <a:endParaRPr kumimoji="1" lang="ko-Kore-KR" altLang="en-US" sz="1400" dirty="0">
                <a:highlight>
                  <a:srgbClr val="FFFF00"/>
                </a:highlight>
                <a:latin typeface="210 옴니고딕 030" panose="02020603020101020101" pitchFamily="18" charset="-127"/>
                <a:ea typeface="210 옴니고딕 030" panose="02020603020101020101" pitchFamily="18" charset="-127"/>
              </a:endParaRPr>
            </a:p>
          </p:txBody>
        </p:sp>
        <p:cxnSp>
          <p:nvCxnSpPr>
            <p:cNvPr id="15" name="직선 연결선[R] 15">
              <a:extLst>
                <a:ext uri="{FF2B5EF4-FFF2-40B4-BE49-F238E27FC236}">
                  <a16:creationId xmlns:a16="http://schemas.microsoft.com/office/drawing/2014/main" id="{910E4166-FD76-28D1-3159-F70CE58CF9BD}"/>
                </a:ext>
              </a:extLst>
            </p:cNvPr>
            <p:cNvCxnSpPr>
              <a:cxnSpLocks/>
            </p:cNvCxnSpPr>
            <p:nvPr/>
          </p:nvCxnSpPr>
          <p:spPr>
            <a:xfrm>
              <a:off x="658813" y="2003842"/>
              <a:ext cx="5182982" cy="0"/>
            </a:xfrm>
            <a:prstGeom prst="line">
              <a:avLst/>
            </a:prstGeom>
            <a:ln w="19050">
              <a:solidFill>
                <a:srgbClr val="009D4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" name="그룹 15">
            <a:extLst>
              <a:ext uri="{FF2B5EF4-FFF2-40B4-BE49-F238E27FC236}">
                <a16:creationId xmlns:a16="http://schemas.microsoft.com/office/drawing/2014/main" id="{28747D7D-6016-CE1C-DF49-C53F79356D29}"/>
              </a:ext>
            </a:extLst>
          </p:cNvPr>
          <p:cNvGrpSpPr/>
          <p:nvPr/>
        </p:nvGrpSpPr>
        <p:grpSpPr>
          <a:xfrm>
            <a:off x="8738797" y="1664457"/>
            <a:ext cx="2952407" cy="1199094"/>
            <a:chOff x="575399" y="1590885"/>
            <a:chExt cx="5266396" cy="1199094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BB0B38FE-BCD7-BCF9-0DB1-15910F4AA112}"/>
                </a:ext>
              </a:extLst>
            </p:cNvPr>
            <p:cNvSpPr txBox="1"/>
            <p:nvPr/>
          </p:nvSpPr>
          <p:spPr>
            <a:xfrm>
              <a:off x="2516339" y="1590885"/>
              <a:ext cx="1384513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kumimoji="1" lang="ko-KR" altLang="en-US" sz="1600" b="1" dirty="0">
                  <a:solidFill>
                    <a:srgbClr val="009D4F"/>
                  </a:solidFill>
                  <a:latin typeface="210 옴니고딕 030" panose="02020603020101020101" pitchFamily="18" charset="-127"/>
                  <a:ea typeface="210 옴니고딕 030" panose="02020603020101020101" pitchFamily="18" charset="-127"/>
                </a:rPr>
                <a:t>이재성</a:t>
              </a:r>
              <a:endParaRPr kumimoji="1" lang="en-US" altLang="ko-KR" sz="1600" b="1" dirty="0">
                <a:solidFill>
                  <a:srgbClr val="009D4F"/>
                </a:solidFill>
                <a:latin typeface="210 옴니고딕 030" panose="02020603020101020101" pitchFamily="18" charset="-127"/>
                <a:ea typeface="210 옴니고딕 030" panose="02020603020101020101" pitchFamily="18" charset="-127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2713B17C-E90C-FADE-D68A-E9F9A2B6B10D}"/>
                </a:ext>
              </a:extLst>
            </p:cNvPr>
            <p:cNvSpPr txBox="1"/>
            <p:nvPr/>
          </p:nvSpPr>
          <p:spPr>
            <a:xfrm>
              <a:off x="575399" y="2078246"/>
              <a:ext cx="5266395" cy="7117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198438" algn="ctr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kumimoji="1" lang="en-US" altLang="ko-KR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210 옴니고딕 030" panose="02020603020101020101" pitchFamily="18" charset="-127"/>
                  <a:ea typeface="210 옴니고딕 030" panose="02020603020101020101" pitchFamily="18" charset="-127"/>
                </a:rPr>
                <a:t>Login &amp; UI Scene (2D) </a:t>
              </a:r>
              <a:r>
                <a:rPr kumimoji="1" lang="ko-KR" altLang="en-US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210 옴니고딕 030" panose="02020603020101020101" pitchFamily="18" charset="-127"/>
                  <a:ea typeface="210 옴니고딕 030" panose="02020603020101020101" pitchFamily="18" charset="-127"/>
                </a:rPr>
                <a:t>분석</a:t>
              </a:r>
            </a:p>
            <a:p>
              <a:pPr marL="87312">
                <a:lnSpc>
                  <a:spcPct val="150000"/>
                </a:lnSpc>
              </a:pPr>
              <a:endParaRPr kumimoji="1" lang="ko-Kore-KR" altLang="en-US" sz="1400" dirty="0">
                <a:highlight>
                  <a:srgbClr val="FFFF00"/>
                </a:highlight>
                <a:latin typeface="210 옴니고딕 030" panose="02020603020101020101" pitchFamily="18" charset="-127"/>
                <a:ea typeface="210 옴니고딕 030" panose="02020603020101020101" pitchFamily="18" charset="-127"/>
              </a:endParaRPr>
            </a:p>
          </p:txBody>
        </p:sp>
        <p:cxnSp>
          <p:nvCxnSpPr>
            <p:cNvPr id="19" name="직선 연결선[R] 15">
              <a:extLst>
                <a:ext uri="{FF2B5EF4-FFF2-40B4-BE49-F238E27FC236}">
                  <a16:creationId xmlns:a16="http://schemas.microsoft.com/office/drawing/2014/main" id="{29091D0C-1387-B8B6-952D-AC4F20CB6E06}"/>
                </a:ext>
              </a:extLst>
            </p:cNvPr>
            <p:cNvCxnSpPr>
              <a:cxnSpLocks/>
            </p:cNvCxnSpPr>
            <p:nvPr/>
          </p:nvCxnSpPr>
          <p:spPr>
            <a:xfrm>
              <a:off x="658813" y="2003842"/>
              <a:ext cx="5182982" cy="0"/>
            </a:xfrm>
            <a:prstGeom prst="line">
              <a:avLst/>
            </a:prstGeom>
            <a:ln w="19050">
              <a:solidFill>
                <a:srgbClr val="009D4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사각형: 둥근 모서리 4">
            <a:extLst>
              <a:ext uri="{FF2B5EF4-FFF2-40B4-BE49-F238E27FC236}">
                <a16:creationId xmlns:a16="http://schemas.microsoft.com/office/drawing/2014/main" id="{11FA6541-6BBA-2AD1-249D-7F7D4B949C08}"/>
              </a:ext>
            </a:extLst>
          </p:cNvPr>
          <p:cNvSpPr/>
          <p:nvPr/>
        </p:nvSpPr>
        <p:spPr>
          <a:xfrm>
            <a:off x="377972" y="1312433"/>
            <a:ext cx="3365689" cy="1874282"/>
          </a:xfrm>
          <a:prstGeom prst="roundRect">
            <a:avLst/>
          </a:prstGeom>
          <a:noFill/>
          <a:ln>
            <a:solidFill>
              <a:srgbClr val="009D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사각형: 둥근 모서리 20">
            <a:extLst>
              <a:ext uri="{FF2B5EF4-FFF2-40B4-BE49-F238E27FC236}">
                <a16:creationId xmlns:a16="http://schemas.microsoft.com/office/drawing/2014/main" id="{C108AF1F-BA3E-D03D-BD7A-447E9C607C3E}"/>
              </a:ext>
            </a:extLst>
          </p:cNvPr>
          <p:cNvSpPr/>
          <p:nvPr/>
        </p:nvSpPr>
        <p:spPr>
          <a:xfrm>
            <a:off x="4413153" y="1312433"/>
            <a:ext cx="3365689" cy="1874282"/>
          </a:xfrm>
          <a:prstGeom prst="roundRect">
            <a:avLst/>
          </a:prstGeom>
          <a:noFill/>
          <a:ln>
            <a:solidFill>
              <a:srgbClr val="009D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2" name="사각형: 둥근 모서리 21">
            <a:extLst>
              <a:ext uri="{FF2B5EF4-FFF2-40B4-BE49-F238E27FC236}">
                <a16:creationId xmlns:a16="http://schemas.microsoft.com/office/drawing/2014/main" id="{3F9E32DA-42ED-8FD8-4C6B-B32FB7D0571C}"/>
              </a:ext>
            </a:extLst>
          </p:cNvPr>
          <p:cNvSpPr/>
          <p:nvPr/>
        </p:nvSpPr>
        <p:spPr>
          <a:xfrm>
            <a:off x="8555537" y="1312435"/>
            <a:ext cx="3365689" cy="1874282"/>
          </a:xfrm>
          <a:prstGeom prst="roundRect">
            <a:avLst/>
          </a:prstGeom>
          <a:noFill/>
          <a:ln>
            <a:solidFill>
              <a:srgbClr val="009D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10023335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4315461" y="3079079"/>
            <a:ext cx="3561077" cy="699842"/>
          </a:xfrm>
          <a:prstGeom prst="rect">
            <a:avLst/>
          </a:prstGeom>
        </p:spPr>
        <p:txBody>
          <a:bodyPr vert="horz" wrap="square" lIns="0" tIns="9242" rIns="0" bIns="0" rtlCol="0" anchor="ctr">
            <a:spAutoFit/>
          </a:bodyPr>
          <a:lstStyle/>
          <a:p>
            <a:pPr marL="7701">
              <a:lnSpc>
                <a:spcPct val="100000"/>
              </a:lnSpc>
              <a:spcBef>
                <a:spcPts val="73"/>
              </a:spcBef>
            </a:pPr>
            <a:r>
              <a:rPr spc="6" dirty="0">
                <a:solidFill>
                  <a:srgbClr val="009D4F"/>
                </a:solidFill>
              </a:rPr>
              <a:t>THANK</a:t>
            </a:r>
            <a:r>
              <a:rPr spc="-121" dirty="0">
                <a:solidFill>
                  <a:srgbClr val="009D4F"/>
                </a:solidFill>
              </a:rPr>
              <a:t> </a:t>
            </a:r>
            <a:r>
              <a:rPr spc="6" dirty="0">
                <a:solidFill>
                  <a:srgbClr val="009D4F"/>
                </a:solidFill>
              </a:rPr>
              <a:t>YOU</a:t>
            </a:r>
          </a:p>
        </p:txBody>
      </p:sp>
      <p:pic>
        <p:nvPicPr>
          <p:cNvPr id="5" name="그림 4" descr="텍스트, 표지판, 어두운이(가) 표시된 사진&#10;&#10;자동 생성된 설명">
            <a:extLst>
              <a:ext uri="{FF2B5EF4-FFF2-40B4-BE49-F238E27FC236}">
                <a16:creationId xmlns:a16="http://schemas.microsoft.com/office/drawing/2014/main" id="{99DB973B-8F31-454D-965E-8D3C8A77EF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56060" y="3778921"/>
            <a:ext cx="2020478" cy="1063054"/>
          </a:xfrm>
          <a:prstGeom prst="rect">
            <a:avLst/>
          </a:prstGeom>
        </p:spPr>
      </p:pic>
      <p:pic>
        <p:nvPicPr>
          <p:cNvPr id="6" name="Picture 2">
            <a:extLst>
              <a:ext uri="{FF2B5EF4-FFF2-40B4-BE49-F238E27FC236}">
                <a16:creationId xmlns:a16="http://schemas.microsoft.com/office/drawing/2014/main" id="{E331DF8F-51A3-D3C4-B811-DFBF2677D5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96000"/>
                    </a14:imgEffect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33044" y="3977602"/>
            <a:ext cx="1305433" cy="8643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kERg62x0aAD683zk2wv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kERg62x0aAD683zk2wv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kERg62x0aAD683zk2wvA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604</TotalTime>
  <Words>209</Words>
  <Application>Microsoft Office PowerPoint</Application>
  <PresentationFormat>와이드스크린</PresentationFormat>
  <Paragraphs>51</Paragraphs>
  <Slides>8</Slides>
  <Notes>0</Notes>
  <HiddenSlides>0</HiddenSlides>
  <MMClips>0</MMClips>
  <ScaleCrop>false</ScaleCrop>
  <HeadingPairs>
    <vt:vector size="6" baseType="variant">
      <vt:variant>
        <vt:lpstr>사용한 글꼴</vt:lpstr>
      </vt:variant>
      <vt:variant>
        <vt:i4>9</vt:i4>
      </vt:variant>
      <vt:variant>
        <vt:lpstr>테마</vt:lpstr>
      </vt:variant>
      <vt:variant>
        <vt:i4>1</vt:i4>
      </vt:variant>
      <vt:variant>
        <vt:lpstr>슬라이드 제목</vt:lpstr>
      </vt:variant>
      <vt:variant>
        <vt:i4>8</vt:i4>
      </vt:variant>
    </vt:vector>
  </HeadingPairs>
  <TitlesOfParts>
    <vt:vector size="18" baseType="lpstr">
      <vt:lpstr>210 옴니고딕 030</vt:lpstr>
      <vt:lpstr>DIN-Light</vt:lpstr>
      <vt:lpstr>Noto Sans CJK KR Black</vt:lpstr>
      <vt:lpstr>Noto Sans CJK KR Bold</vt:lpstr>
      <vt:lpstr>Noto Sans CJK KR DemiLight</vt:lpstr>
      <vt:lpstr>맑은 고딕</vt:lpstr>
      <vt:lpstr>Arial</vt:lpstr>
      <vt:lpstr>Calibri</vt:lpstr>
      <vt:lpstr>Calibri Light</vt:lpstr>
      <vt:lpstr>Office 테마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김 아림</dc:creator>
  <cp:lastModifiedBy>김 혜원</cp:lastModifiedBy>
  <cp:revision>247</cp:revision>
  <dcterms:created xsi:type="dcterms:W3CDTF">2020-12-21T03:06:12Z</dcterms:created>
  <dcterms:modified xsi:type="dcterms:W3CDTF">2022-05-13T14:50:08Z</dcterms:modified>
</cp:coreProperties>
</file>